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Ex2.xml" ContentType="application/vnd.ms-office.chartex+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2" r:id="rId4"/>
  </p:sldMasterIdLst>
  <p:notesMasterIdLst>
    <p:notesMasterId r:id="rId35"/>
  </p:notesMasterIdLst>
  <p:handoutMasterIdLst>
    <p:handoutMasterId r:id="rId36"/>
  </p:handoutMasterIdLst>
  <p:sldIdLst>
    <p:sldId id="388" r:id="rId5"/>
    <p:sldId id="272" r:id="rId6"/>
    <p:sldId id="259" r:id="rId7"/>
    <p:sldId id="271" r:id="rId8"/>
    <p:sldId id="403" r:id="rId9"/>
    <p:sldId id="404" r:id="rId10"/>
    <p:sldId id="270" r:id="rId11"/>
    <p:sldId id="401" r:id="rId12"/>
    <p:sldId id="405" r:id="rId13"/>
    <p:sldId id="406" r:id="rId14"/>
    <p:sldId id="398" r:id="rId15"/>
    <p:sldId id="267" r:id="rId16"/>
    <p:sldId id="399" r:id="rId17"/>
    <p:sldId id="426" r:id="rId18"/>
    <p:sldId id="265" r:id="rId19"/>
    <p:sldId id="413" r:id="rId20"/>
    <p:sldId id="400" r:id="rId21"/>
    <p:sldId id="408" r:id="rId22"/>
    <p:sldId id="409" r:id="rId23"/>
    <p:sldId id="411" r:id="rId24"/>
    <p:sldId id="395" r:id="rId25"/>
    <p:sldId id="393" r:id="rId26"/>
    <p:sldId id="414" r:id="rId27"/>
    <p:sldId id="416" r:id="rId28"/>
    <p:sldId id="417" r:id="rId29"/>
    <p:sldId id="422" r:id="rId30"/>
    <p:sldId id="418" r:id="rId31"/>
    <p:sldId id="423" r:id="rId32"/>
    <p:sldId id="424" r:id="rId33"/>
    <p:sldId id="425"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6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0999BC07-A553-65D0-6ABD-25BC82154C88}" name="Francisco Joao Correia Antelo" initials="FA" userId="S::20221624@novaims.unl.pt::705ee03e-8739-44a7-9631-d458549373b6" providerId="AD"/>
  <p188:author id="{0B26E426-7599-E676-7427-EA55826800E2}" name="Andre Miguel Cardoso Pereira" initials="AP" userId="S::20221204@novaims.unl.pt::75940013-b690-40af-a84a-5c6930f290a7" providerId="AD"/>
  <p188:author id="{E0776E6B-5556-D812-ACDF-F45E374F7AD9}" name="Maria Hortense Braz de Matos" initials="MHBdM" userId="S::20222167@novaims.unl.pt::5bc5b675-87f3-446e-af61-8743361a8ab5" providerId="AD"/>
  <p188:author id="{181747F2-35D8-A2EB-E7A7-B453E8F98871}" name="Irina Keis" initials="IK" userId="S::20222168@novaims.unl.pt::56f9a881-46b7-4ded-bd86-4ecf61719e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9EB1"/>
    <a:srgbClr val="FFC000"/>
    <a:srgbClr val="ADDBE4"/>
    <a:srgbClr val="A0D1DB"/>
    <a:srgbClr val="EAEAEA"/>
    <a:srgbClr val="DDDDDD"/>
    <a:srgbClr val="B2B2B2"/>
    <a:srgbClr val="E5B694"/>
    <a:srgbClr val="A75F29"/>
    <a:srgbClr val="FFD9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C84C9B-92AB-4102-B8A4-8DF3AFA18152}" v="508" vWet="510" dt="2023-12-03T16:27:36.013"/>
    <p1510:client id="{4DD53DB0-9DE3-4862-9681-91E06199108A}" v="6533" dt="2023-12-11T22:45:08.272"/>
    <p1510:client id="{5802E74D-A57C-40FA-AE09-EA4320EDB3BE}" v="1460" dt="2023-12-03T17:30:03.272"/>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33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 Miguel Cardoso Pereira" userId="S::20221204@novaims.unl.pt::75940013-b690-40af-a84a-5c6930f290a7" providerId="AD" clId="Web-{A5BB7119-FE19-43C8-AA1F-80B306A7DB11}"/>
    <pc:docChg chg="sldOrd">
      <pc:chgData name="Andre Miguel Cardoso Pereira" userId="S::20221204@novaims.unl.pt::75940013-b690-40af-a84a-5c6930f290a7" providerId="AD" clId="Web-{A5BB7119-FE19-43C8-AA1F-80B306A7DB11}" dt="2023-12-02T10:24:38.689" v="0"/>
      <pc:docMkLst>
        <pc:docMk/>
      </pc:docMkLst>
      <pc:sldChg chg="ord">
        <pc:chgData name="Andre Miguel Cardoso Pereira" userId="S::20221204@novaims.unl.pt::75940013-b690-40af-a84a-5c6930f290a7" providerId="AD" clId="Web-{A5BB7119-FE19-43C8-AA1F-80B306A7DB11}" dt="2023-12-02T10:24:38.689" v="0"/>
        <pc:sldMkLst>
          <pc:docMk/>
          <pc:sldMk cId="2600468727" sldId="270"/>
        </pc:sldMkLst>
      </pc:sldChg>
    </pc:docChg>
  </pc:docChgLst>
  <pc:docChgLst>
    <pc:chgData name="Maria Hortense Braz de Matos" userId="5bc5b675-87f3-446e-af61-8743361a8ab5" providerId="ADAL" clId="{4DD53DB0-9DE3-4862-9681-91E06199108A}"/>
    <pc:docChg chg="undo redo custSel addSld delSld modSld sldOrd delMainMaster">
      <pc:chgData name="Maria Hortense Braz de Matos" userId="5bc5b675-87f3-446e-af61-8743361a8ab5" providerId="ADAL" clId="{4DD53DB0-9DE3-4862-9681-91E06199108A}" dt="2023-12-11T22:45:08.272" v="9456" actId="20577"/>
      <pc:docMkLst>
        <pc:docMk/>
      </pc:docMkLst>
      <pc:sldChg chg="del">
        <pc:chgData name="Maria Hortense Braz de Matos" userId="5bc5b675-87f3-446e-af61-8743361a8ab5" providerId="ADAL" clId="{4DD53DB0-9DE3-4862-9681-91E06199108A}" dt="2023-11-13T08:31:34.969" v="2" actId="47"/>
        <pc:sldMkLst>
          <pc:docMk/>
          <pc:sldMk cId="1642425379" sldId="256"/>
        </pc:sldMkLst>
      </pc:sldChg>
      <pc:sldChg chg="del">
        <pc:chgData name="Maria Hortense Braz de Matos" userId="5bc5b675-87f3-446e-af61-8743361a8ab5" providerId="ADAL" clId="{4DD53DB0-9DE3-4862-9681-91E06199108A}" dt="2023-11-13T08:31:35.969" v="3" actId="47"/>
        <pc:sldMkLst>
          <pc:docMk/>
          <pc:sldMk cId="1713219598" sldId="257"/>
        </pc:sldMkLst>
      </pc:sldChg>
      <pc:sldChg chg="addSp delSp modSp mod modClrScheme chgLayout">
        <pc:chgData name="Maria Hortense Braz de Matos" userId="5bc5b675-87f3-446e-af61-8743361a8ab5" providerId="ADAL" clId="{4DD53DB0-9DE3-4862-9681-91E06199108A}" dt="2023-12-03T17:14:55.448" v="9119" actId="700"/>
        <pc:sldMkLst>
          <pc:docMk/>
          <pc:sldMk cId="2997527192" sldId="259"/>
        </pc:sldMkLst>
        <pc:spChg chg="add del mod ord">
          <ac:chgData name="Maria Hortense Braz de Matos" userId="5bc5b675-87f3-446e-af61-8743361a8ab5" providerId="ADAL" clId="{4DD53DB0-9DE3-4862-9681-91E06199108A}" dt="2023-12-01T10:18:28.405" v="1620" actId="478"/>
          <ac:spMkLst>
            <pc:docMk/>
            <pc:sldMk cId="2997527192" sldId="259"/>
            <ac:spMk id="2" creationId="{0E0CB9C2-D6A3-BC9D-F85C-B0198CB4C4C7}"/>
          </ac:spMkLst>
        </pc:spChg>
        <pc:spChg chg="mod">
          <ac:chgData name="Maria Hortense Braz de Matos" userId="5bc5b675-87f3-446e-af61-8743361a8ab5" providerId="ADAL" clId="{4DD53DB0-9DE3-4862-9681-91E06199108A}" dt="2023-12-03T17:14:31.584" v="9117" actId="1035"/>
          <ac:spMkLst>
            <pc:docMk/>
            <pc:sldMk cId="2997527192" sldId="259"/>
            <ac:spMk id="5" creationId="{D8023373-EE3D-862E-E7EE-CE61893FE606}"/>
          </ac:spMkLst>
        </pc:spChg>
      </pc:sldChg>
      <pc:sldChg chg="addSp modSp del mod ord modClrScheme modShow chgLayout">
        <pc:chgData name="Maria Hortense Braz de Matos" userId="5bc5b675-87f3-446e-af61-8743361a8ab5" providerId="ADAL" clId="{4DD53DB0-9DE3-4862-9681-91E06199108A}" dt="2023-12-01T10:18:44.965" v="1622" actId="47"/>
        <pc:sldMkLst>
          <pc:docMk/>
          <pc:sldMk cId="3816910014" sldId="260"/>
        </pc:sldMkLst>
        <pc:spChg chg="add mod">
          <ac:chgData name="Maria Hortense Braz de Matos" userId="5bc5b675-87f3-446e-af61-8743361a8ab5" providerId="ADAL" clId="{4DD53DB0-9DE3-4862-9681-91E06199108A}" dt="2023-11-13T08:46:03.988" v="409" actId="404"/>
          <ac:spMkLst>
            <pc:docMk/>
            <pc:sldMk cId="3816910014" sldId="260"/>
            <ac:spMk id="2" creationId="{EEEFFC16-69EB-CB38-BD3E-03E258648774}"/>
          </ac:spMkLst>
        </pc:spChg>
        <pc:spChg chg="add mod ord">
          <ac:chgData name="Maria Hortense Braz de Matos" userId="5bc5b675-87f3-446e-af61-8743361a8ab5" providerId="ADAL" clId="{4DD53DB0-9DE3-4862-9681-91E06199108A}" dt="2023-11-30T19:27:46.651" v="800" actId="700"/>
          <ac:spMkLst>
            <pc:docMk/>
            <pc:sldMk cId="3816910014" sldId="260"/>
            <ac:spMk id="3" creationId="{01089167-0535-F47E-C96E-EB8DFCEA2306}"/>
          </ac:spMkLst>
        </pc:spChg>
      </pc:sldChg>
      <pc:sldChg chg="del">
        <pc:chgData name="Maria Hortense Braz de Matos" userId="5bc5b675-87f3-446e-af61-8743361a8ab5" providerId="ADAL" clId="{4DD53DB0-9DE3-4862-9681-91E06199108A}" dt="2023-11-13T08:31:38.237" v="5" actId="47"/>
        <pc:sldMkLst>
          <pc:docMk/>
          <pc:sldMk cId="1738561688" sldId="261"/>
        </pc:sldMkLst>
      </pc:sldChg>
      <pc:sldChg chg="del">
        <pc:chgData name="Maria Hortense Braz de Matos" userId="5bc5b675-87f3-446e-af61-8743361a8ab5" providerId="ADAL" clId="{4DD53DB0-9DE3-4862-9681-91E06199108A}" dt="2023-11-13T08:54:07.604" v="630" actId="47"/>
        <pc:sldMkLst>
          <pc:docMk/>
          <pc:sldMk cId="2724879114" sldId="263"/>
        </pc:sldMkLst>
      </pc:sldChg>
      <pc:sldChg chg="addSp modSp del mod ord modClrScheme modShow chgLayout">
        <pc:chgData name="Maria Hortense Braz de Matos" userId="5bc5b675-87f3-446e-af61-8743361a8ab5" providerId="ADAL" clId="{4DD53DB0-9DE3-4862-9681-91E06199108A}" dt="2023-11-30T19:27:55.791" v="801" actId="47"/>
        <pc:sldMkLst>
          <pc:docMk/>
          <pc:sldMk cId="549070761" sldId="264"/>
        </pc:sldMkLst>
        <pc:spChg chg="add mod">
          <ac:chgData name="Maria Hortense Braz de Matos" userId="5bc5b675-87f3-446e-af61-8743361a8ab5" providerId="ADAL" clId="{4DD53DB0-9DE3-4862-9681-91E06199108A}" dt="2023-11-13T08:48:53.904" v="584" actId="20577"/>
          <ac:spMkLst>
            <pc:docMk/>
            <pc:sldMk cId="549070761" sldId="264"/>
            <ac:spMk id="2" creationId="{A1773686-5475-BB61-ABAD-1EA2304C5D21}"/>
          </ac:spMkLst>
        </pc:spChg>
        <pc:spChg chg="mod ord">
          <ac:chgData name="Maria Hortense Braz de Matos" userId="5bc5b675-87f3-446e-af61-8743361a8ab5" providerId="ADAL" clId="{4DD53DB0-9DE3-4862-9681-91E06199108A}" dt="2023-11-30T19:27:46.651" v="800" actId="700"/>
          <ac:spMkLst>
            <pc:docMk/>
            <pc:sldMk cId="549070761" sldId="264"/>
            <ac:spMk id="5" creationId="{549CF0A3-E3FF-D0C1-287F-CD1E590B92FA}"/>
          </ac:spMkLst>
        </pc:spChg>
        <pc:spChg chg="mod ord">
          <ac:chgData name="Maria Hortense Braz de Matos" userId="5bc5b675-87f3-446e-af61-8743361a8ab5" providerId="ADAL" clId="{4DD53DB0-9DE3-4862-9681-91E06199108A}" dt="2023-11-30T19:27:46.651" v="800" actId="700"/>
          <ac:spMkLst>
            <pc:docMk/>
            <pc:sldMk cId="549070761" sldId="264"/>
            <ac:spMk id="6" creationId="{F4FE3670-AC17-8764-341A-8D9A3E4411B4}"/>
          </ac:spMkLst>
        </pc:spChg>
      </pc:sldChg>
      <pc:sldChg chg="addSp delSp modSp mod ord modClrScheme delAnim modAnim delCm modCm chgLayout">
        <pc:chgData name="Maria Hortense Braz de Matos" userId="5bc5b675-87f3-446e-af61-8743361a8ab5" providerId="ADAL" clId="{4DD53DB0-9DE3-4862-9681-91E06199108A}" dt="2023-12-03T17:37:45.012" v="9440" actId="20577"/>
        <pc:sldMkLst>
          <pc:docMk/>
          <pc:sldMk cId="4222592916" sldId="265"/>
        </pc:sldMkLst>
        <pc:spChg chg="add mod ord">
          <ac:chgData name="Maria Hortense Braz de Matos" userId="5bc5b675-87f3-446e-af61-8743361a8ab5" providerId="ADAL" clId="{4DD53DB0-9DE3-4862-9681-91E06199108A}" dt="2023-11-30T19:27:46.651" v="800" actId="700"/>
          <ac:spMkLst>
            <pc:docMk/>
            <pc:sldMk cId="4222592916" sldId="265"/>
            <ac:spMk id="2" creationId="{0A6C936E-273E-7E97-5355-65326DC2B0D5}"/>
          </ac:spMkLst>
        </pc:spChg>
        <pc:spChg chg="del">
          <ac:chgData name="Maria Hortense Braz de Matos" userId="5bc5b675-87f3-446e-af61-8743361a8ab5" providerId="ADAL" clId="{4DD53DB0-9DE3-4862-9681-91E06199108A}" dt="2023-11-13T08:41:52.094" v="257" actId="478"/>
          <ac:spMkLst>
            <pc:docMk/>
            <pc:sldMk cId="4222592916" sldId="265"/>
            <ac:spMk id="2" creationId="{71ADADE4-FC00-0DB3-91AC-5EB94E087D21}"/>
          </ac:spMkLst>
        </pc:spChg>
        <pc:spChg chg="del mod">
          <ac:chgData name="Maria Hortense Braz de Matos" userId="5bc5b675-87f3-446e-af61-8743361a8ab5" providerId="ADAL" clId="{4DD53DB0-9DE3-4862-9681-91E06199108A}" dt="2023-12-01T19:29:35.072" v="6536" actId="478"/>
          <ac:spMkLst>
            <pc:docMk/>
            <pc:sldMk cId="4222592916" sldId="265"/>
            <ac:spMk id="2" creationId="{76E4AEB6-FDFD-F301-2398-87C7E73B46DA}"/>
          </ac:spMkLst>
        </pc:spChg>
        <pc:spChg chg="del">
          <ac:chgData name="Maria Hortense Braz de Matos" userId="5bc5b675-87f3-446e-af61-8743361a8ab5" providerId="ADAL" clId="{4DD53DB0-9DE3-4862-9681-91E06199108A}" dt="2023-11-13T08:42:21.031" v="312" actId="478"/>
          <ac:spMkLst>
            <pc:docMk/>
            <pc:sldMk cId="4222592916" sldId="265"/>
            <ac:spMk id="3" creationId="{1E6B8B7B-A696-5EA4-DEF5-E9720657AD30}"/>
          </ac:spMkLst>
        </pc:spChg>
        <pc:spChg chg="mod">
          <ac:chgData name="Maria Hortense Braz de Matos" userId="5bc5b675-87f3-446e-af61-8743361a8ab5" providerId="ADAL" clId="{4DD53DB0-9DE3-4862-9681-91E06199108A}" dt="2023-12-01T19:55:21.792" v="6909" actId="113"/>
          <ac:spMkLst>
            <pc:docMk/>
            <pc:sldMk cId="4222592916" sldId="265"/>
            <ac:spMk id="3" creationId="{75065607-11FF-27D8-42A1-AA3E7BE1BAF1}"/>
          </ac:spMkLst>
        </pc:spChg>
        <pc:spChg chg="add mod">
          <ac:chgData name="Maria Hortense Braz de Matos" userId="5bc5b675-87f3-446e-af61-8743361a8ab5" providerId="ADAL" clId="{4DD53DB0-9DE3-4862-9681-91E06199108A}" dt="2023-12-01T13:18:29.208" v="3952"/>
          <ac:spMkLst>
            <pc:docMk/>
            <pc:sldMk cId="4222592916" sldId="265"/>
            <ac:spMk id="4" creationId="{9CBFDB7B-B9A0-BD81-3683-47E92D2E386E}"/>
          </ac:spMkLst>
        </pc:spChg>
        <pc:spChg chg="mod">
          <ac:chgData name="Maria Hortense Braz de Matos" userId="5bc5b675-87f3-446e-af61-8743361a8ab5" providerId="ADAL" clId="{4DD53DB0-9DE3-4862-9681-91E06199108A}" dt="2023-12-01T19:23:08.867" v="6305" actId="20577"/>
          <ac:spMkLst>
            <pc:docMk/>
            <pc:sldMk cId="4222592916" sldId="265"/>
            <ac:spMk id="5" creationId="{CBD3180A-8EEC-0027-1BFE-09D90202C372}"/>
          </ac:spMkLst>
        </pc:spChg>
        <pc:spChg chg="add del mod">
          <ac:chgData name="Maria Hortense Braz de Matos" userId="5bc5b675-87f3-446e-af61-8743361a8ab5" providerId="ADAL" clId="{4DD53DB0-9DE3-4862-9681-91E06199108A}" dt="2023-12-01T19:22:01.666" v="6299" actId="478"/>
          <ac:spMkLst>
            <pc:docMk/>
            <pc:sldMk cId="4222592916" sldId="265"/>
            <ac:spMk id="6" creationId="{36A460EA-A4D4-C53E-A4A4-280E978ABFFF}"/>
          </ac:spMkLst>
        </pc:spChg>
        <pc:spChg chg="del">
          <ac:chgData name="Maria Hortense Braz de Matos" userId="5bc5b675-87f3-446e-af61-8743361a8ab5" providerId="ADAL" clId="{4DD53DB0-9DE3-4862-9681-91E06199108A}" dt="2023-11-13T08:42:23.582" v="313" actId="478"/>
          <ac:spMkLst>
            <pc:docMk/>
            <pc:sldMk cId="4222592916" sldId="265"/>
            <ac:spMk id="6" creationId="{AD1F110A-2B3A-8AF7-F75D-E4EEDA99360C}"/>
          </ac:spMkLst>
        </pc:spChg>
        <pc:spChg chg="add mod">
          <ac:chgData name="Maria Hortense Braz de Matos" userId="5bc5b675-87f3-446e-af61-8743361a8ab5" providerId="ADAL" clId="{4DD53DB0-9DE3-4862-9681-91E06199108A}" dt="2023-11-13T08:44:37.950" v="357"/>
          <ac:spMkLst>
            <pc:docMk/>
            <pc:sldMk cId="4222592916" sldId="265"/>
            <ac:spMk id="7" creationId="{3E143B21-FE8D-6477-51D0-10B5F3569BA8}"/>
          </ac:spMkLst>
        </pc:spChg>
        <pc:spChg chg="add mod">
          <ac:chgData name="Maria Hortense Braz de Matos" userId="5bc5b675-87f3-446e-af61-8743361a8ab5" providerId="ADAL" clId="{4DD53DB0-9DE3-4862-9681-91E06199108A}" dt="2023-11-13T08:44:37.950" v="357"/>
          <ac:spMkLst>
            <pc:docMk/>
            <pc:sldMk cId="4222592916" sldId="265"/>
            <ac:spMk id="8" creationId="{928E9A28-4A62-E14B-70C8-9C2F8E91DB39}"/>
          </ac:spMkLst>
        </pc:spChg>
        <pc:spChg chg="add mod">
          <ac:chgData name="Maria Hortense Braz de Matos" userId="5bc5b675-87f3-446e-af61-8743361a8ab5" providerId="ADAL" clId="{4DD53DB0-9DE3-4862-9681-91E06199108A}" dt="2023-12-01T19:42:13.728" v="6627" actId="113"/>
          <ac:spMkLst>
            <pc:docMk/>
            <pc:sldMk cId="4222592916" sldId="265"/>
            <ac:spMk id="8" creationId="{AA1CD7A6-15D1-06BD-EB41-1927DECA0B59}"/>
          </ac:spMkLst>
        </pc:spChg>
        <pc:spChg chg="add mod">
          <ac:chgData name="Maria Hortense Braz de Matos" userId="5bc5b675-87f3-446e-af61-8743361a8ab5" providerId="ADAL" clId="{4DD53DB0-9DE3-4862-9681-91E06199108A}" dt="2023-11-13T08:44:37.950" v="357"/>
          <ac:spMkLst>
            <pc:docMk/>
            <pc:sldMk cId="4222592916" sldId="265"/>
            <ac:spMk id="9" creationId="{8CF7D65B-97DB-138F-B403-DB0491EFFB22}"/>
          </ac:spMkLst>
        </pc:spChg>
        <pc:spChg chg="del mod">
          <ac:chgData name="Maria Hortense Braz de Matos" userId="5bc5b675-87f3-446e-af61-8743361a8ab5" providerId="ADAL" clId="{4DD53DB0-9DE3-4862-9681-91E06199108A}" dt="2023-12-01T19:24:07.893" v="6364" actId="478"/>
          <ac:spMkLst>
            <pc:docMk/>
            <pc:sldMk cId="4222592916" sldId="265"/>
            <ac:spMk id="9" creationId="{D3180CE3-34C3-C7BD-EFDC-7BB1408F9303}"/>
          </ac:spMkLst>
        </pc:spChg>
        <pc:spChg chg="add mod">
          <ac:chgData name="Maria Hortense Braz de Matos" userId="5bc5b675-87f3-446e-af61-8743361a8ab5" providerId="ADAL" clId="{4DD53DB0-9DE3-4862-9681-91E06199108A}" dt="2023-11-13T08:44:37.950" v="357"/>
          <ac:spMkLst>
            <pc:docMk/>
            <pc:sldMk cId="4222592916" sldId="265"/>
            <ac:spMk id="10" creationId="{6A430E89-5959-B0F2-142B-EB5C4CC71CB8}"/>
          </ac:spMkLst>
        </pc:spChg>
        <pc:spChg chg="del">
          <ac:chgData name="Maria Hortense Braz de Matos" userId="5bc5b675-87f3-446e-af61-8743361a8ab5" providerId="ADAL" clId="{4DD53DB0-9DE3-4862-9681-91E06199108A}" dt="2023-12-01T19:21:11.278" v="6281" actId="478"/>
          <ac:spMkLst>
            <pc:docMk/>
            <pc:sldMk cId="4222592916" sldId="265"/>
            <ac:spMk id="12" creationId="{BC571203-39E5-0663-8494-C641784E6F73}"/>
          </ac:spMkLst>
        </pc:spChg>
        <pc:spChg chg="mod">
          <ac:chgData name="Maria Hortense Braz de Matos" userId="5bc5b675-87f3-446e-af61-8743361a8ab5" providerId="ADAL" clId="{4DD53DB0-9DE3-4862-9681-91E06199108A}" dt="2023-12-01T19:56:47.007" v="6934" actId="20577"/>
          <ac:spMkLst>
            <pc:docMk/>
            <pc:sldMk cId="4222592916" sldId="265"/>
            <ac:spMk id="14" creationId="{7084496D-5F9A-D4B2-3E99-347FA2B50A7A}"/>
          </ac:spMkLst>
        </pc:spChg>
        <pc:spChg chg="add mod">
          <ac:chgData name="Maria Hortense Braz de Matos" userId="5bc5b675-87f3-446e-af61-8743361a8ab5" providerId="ADAL" clId="{4DD53DB0-9DE3-4862-9681-91E06199108A}" dt="2023-12-03T16:29:39.184" v="8458" actId="1076"/>
          <ac:spMkLst>
            <pc:docMk/>
            <pc:sldMk cId="4222592916" sldId="265"/>
            <ac:spMk id="15" creationId="{EA6DF3AE-82CB-7A75-C6FA-E552D9CA2225}"/>
          </ac:spMkLst>
        </pc:spChg>
        <pc:graphicFrameChg chg="add del mod modGraphic">
          <ac:chgData name="Maria Hortense Braz de Matos" userId="5bc5b675-87f3-446e-af61-8743361a8ab5" providerId="ADAL" clId="{4DD53DB0-9DE3-4862-9681-91E06199108A}" dt="2023-11-13T08:44:26.676" v="356" actId="478"/>
          <ac:graphicFrameMkLst>
            <pc:docMk/>
            <pc:sldMk cId="4222592916" sldId="265"/>
            <ac:graphicFrameMk id="5" creationId="{AD0E971A-8557-4A32-A366-1CA56DBC0090}"/>
          </ac:graphicFrameMkLst>
        </pc:graphicFrameChg>
        <pc:graphicFrameChg chg="add del mod modGraphic">
          <ac:chgData name="Maria Hortense Braz de Matos" userId="5bc5b675-87f3-446e-af61-8743361a8ab5" providerId="ADAL" clId="{4DD53DB0-9DE3-4862-9681-91E06199108A}" dt="2023-12-03T17:37:45.012" v="9440" actId="20577"/>
          <ac:graphicFrameMkLst>
            <pc:docMk/>
            <pc:sldMk cId="4222592916" sldId="265"/>
            <ac:graphicFrameMk id="11" creationId="{EEFA177F-947E-B232-21E8-BC34E4DF3FC6}"/>
          </ac:graphicFrameMkLst>
        </pc:graphicFrameChg>
        <pc:picChg chg="mod">
          <ac:chgData name="Maria Hortense Braz de Matos" userId="5bc5b675-87f3-446e-af61-8743361a8ab5" providerId="ADAL" clId="{4DD53DB0-9DE3-4862-9681-91E06199108A}" dt="2023-12-03T16:29:36.425" v="8457" actId="1076"/>
          <ac:picMkLst>
            <pc:docMk/>
            <pc:sldMk cId="4222592916" sldId="265"/>
            <ac:picMk id="2" creationId="{246E40BE-1DA6-78B1-7C76-2254B6614D93}"/>
          </ac:picMkLst>
        </pc:picChg>
        <pc:picChg chg="mod">
          <ac:chgData name="Maria Hortense Braz de Matos" userId="5bc5b675-87f3-446e-af61-8743361a8ab5" providerId="ADAL" clId="{4DD53DB0-9DE3-4862-9681-91E06199108A}" dt="2023-12-01T19:21:05.637" v="6280" actId="1076"/>
          <ac:picMkLst>
            <pc:docMk/>
            <pc:sldMk cId="4222592916" sldId="265"/>
            <ac:picMk id="13" creationId="{4D739419-3031-8497-E6A3-C6EC7328E78E}"/>
          </ac:picMkLst>
        </pc:picChg>
        <pc:picChg chg="mod">
          <ac:chgData name="Maria Hortense Braz de Matos" userId="5bc5b675-87f3-446e-af61-8743361a8ab5" providerId="ADAL" clId="{4DD53DB0-9DE3-4862-9681-91E06199108A}" dt="2023-12-01T19:55:08.846" v="6906" actId="14100"/>
          <ac:picMkLst>
            <pc:docMk/>
            <pc:sldMk cId="4222592916" sldId="265"/>
            <ac:picMk id="16" creationId="{AE023ECC-1570-DD60-D31F-46EF5171E094}"/>
          </ac:picMkLst>
        </pc:picChg>
      </pc:sldChg>
      <pc:sldChg chg="addSp delSp modSp mod ord modClrScheme delCm chgLayout">
        <pc:chgData name="Maria Hortense Braz de Matos" userId="5bc5b675-87f3-446e-af61-8743361a8ab5" providerId="ADAL" clId="{4DD53DB0-9DE3-4862-9681-91E06199108A}" dt="2023-12-03T17:17:19.925" v="9130"/>
        <pc:sldMkLst>
          <pc:docMk/>
          <pc:sldMk cId="3520947470" sldId="267"/>
        </pc:sldMkLst>
        <pc:spChg chg="add mod">
          <ac:chgData name="Maria Hortense Braz de Matos" userId="5bc5b675-87f3-446e-af61-8743361a8ab5" providerId="ADAL" clId="{4DD53DB0-9DE3-4862-9681-91E06199108A}" dt="2023-12-01T12:50:49.251" v="3895" actId="6549"/>
          <ac:spMkLst>
            <pc:docMk/>
            <pc:sldMk cId="3520947470" sldId="267"/>
            <ac:spMk id="2" creationId="{16996C51-C667-34EC-83DF-835336DB3EC4}"/>
          </ac:spMkLst>
        </pc:spChg>
        <pc:spChg chg="add del mod">
          <ac:chgData name="Maria Hortense Braz de Matos" userId="5bc5b675-87f3-446e-af61-8743361a8ab5" providerId="ADAL" clId="{4DD53DB0-9DE3-4862-9681-91E06199108A}" dt="2023-12-01T11:42:45.592" v="3558" actId="478"/>
          <ac:spMkLst>
            <pc:docMk/>
            <pc:sldMk cId="3520947470" sldId="267"/>
            <ac:spMk id="3" creationId="{B1F8ABB9-1E03-A241-126C-114806E14C37}"/>
          </ac:spMkLst>
        </pc:spChg>
        <pc:spChg chg="add mod">
          <ac:chgData name="Maria Hortense Braz de Matos" userId="5bc5b675-87f3-446e-af61-8743361a8ab5" providerId="ADAL" clId="{4DD53DB0-9DE3-4862-9681-91E06199108A}" dt="2023-12-01T19:07:50.720" v="6069" actId="13926"/>
          <ac:spMkLst>
            <pc:docMk/>
            <pc:sldMk cId="3520947470" sldId="267"/>
            <ac:spMk id="5" creationId="{D7F7B5B0-AD8D-0858-17B7-0D8D262A69D2}"/>
          </ac:spMkLst>
        </pc:spChg>
        <pc:spChg chg="add del mod ord">
          <ac:chgData name="Maria Hortense Braz de Matos" userId="5bc5b675-87f3-446e-af61-8743361a8ab5" providerId="ADAL" clId="{4DD53DB0-9DE3-4862-9681-91E06199108A}" dt="2023-12-01T11:41:56.859" v="3503" actId="478"/>
          <ac:spMkLst>
            <pc:docMk/>
            <pc:sldMk cId="3520947470" sldId="267"/>
            <ac:spMk id="6" creationId="{BBFDF0BD-9E35-72BF-D137-3ABCCFAD73A8}"/>
          </ac:spMkLst>
        </pc:spChg>
        <pc:spChg chg="add mod">
          <ac:chgData name="Maria Hortense Braz de Matos" userId="5bc5b675-87f3-446e-af61-8743361a8ab5" providerId="ADAL" clId="{4DD53DB0-9DE3-4862-9681-91E06199108A}" dt="2023-12-01T11:42:20.792" v="3521" actId="20577"/>
          <ac:spMkLst>
            <pc:docMk/>
            <pc:sldMk cId="3520947470" sldId="267"/>
            <ac:spMk id="7" creationId="{3CB38834-63E2-95E0-2BDC-13947913977F}"/>
          </ac:spMkLst>
        </pc:spChg>
        <pc:spChg chg="add mod">
          <ac:chgData name="Maria Hortense Braz de Matos" userId="5bc5b675-87f3-446e-af61-8743361a8ab5" providerId="ADAL" clId="{4DD53DB0-9DE3-4862-9681-91E06199108A}" dt="2023-12-01T18:40:54.895" v="5955" actId="108"/>
          <ac:spMkLst>
            <pc:docMk/>
            <pc:sldMk cId="3520947470" sldId="267"/>
            <ac:spMk id="8" creationId="{311603F1-D3FC-2A37-8D6A-D27BEF15C1ED}"/>
          </ac:spMkLst>
        </pc:spChg>
        <pc:spChg chg="add mod">
          <ac:chgData name="Maria Hortense Braz de Matos" userId="5bc5b675-87f3-446e-af61-8743361a8ab5" providerId="ADAL" clId="{4DD53DB0-9DE3-4862-9681-91E06199108A}" dt="2023-12-01T18:40:33.144" v="5951" actId="108"/>
          <ac:spMkLst>
            <pc:docMk/>
            <pc:sldMk cId="3520947470" sldId="267"/>
            <ac:spMk id="9" creationId="{6F4F4650-E83B-1B95-F6EB-8160E13B4BB8}"/>
          </ac:spMkLst>
        </pc:spChg>
        <pc:spChg chg="add mod">
          <ac:chgData name="Maria Hortense Braz de Matos" userId="5bc5b675-87f3-446e-af61-8743361a8ab5" providerId="ADAL" clId="{4DD53DB0-9DE3-4862-9681-91E06199108A}" dt="2023-12-01T20:01:20.578" v="7042" actId="20577"/>
          <ac:spMkLst>
            <pc:docMk/>
            <pc:sldMk cId="3520947470" sldId="267"/>
            <ac:spMk id="10" creationId="{516ED24E-2688-AEDD-2508-5BE2471BF77B}"/>
          </ac:spMkLst>
        </pc:spChg>
        <pc:spChg chg="del">
          <ac:chgData name="Maria Hortense Braz de Matos" userId="5bc5b675-87f3-446e-af61-8743361a8ab5" providerId="ADAL" clId="{4DD53DB0-9DE3-4862-9681-91E06199108A}" dt="2023-11-13T08:34:49.788" v="93" actId="478"/>
          <ac:spMkLst>
            <pc:docMk/>
            <pc:sldMk cId="3520947470" sldId="267"/>
            <ac:spMk id="36" creationId="{EF7C47B5-DC15-306C-590E-E20D7D8A8813}"/>
          </ac:spMkLst>
        </pc:spChg>
        <pc:spChg chg="del">
          <ac:chgData name="Maria Hortense Braz de Matos" userId="5bc5b675-87f3-446e-af61-8743361a8ab5" providerId="ADAL" clId="{4DD53DB0-9DE3-4862-9681-91E06199108A}" dt="2023-11-13T08:34:32.781" v="89" actId="478"/>
          <ac:spMkLst>
            <pc:docMk/>
            <pc:sldMk cId="3520947470" sldId="267"/>
            <ac:spMk id="37" creationId="{20518BB2-0D85-D3B6-0AB6-6D6CD628837A}"/>
          </ac:spMkLst>
        </pc:spChg>
        <pc:spChg chg="del">
          <ac:chgData name="Maria Hortense Braz de Matos" userId="5bc5b675-87f3-446e-af61-8743361a8ab5" providerId="ADAL" clId="{4DD53DB0-9DE3-4862-9681-91E06199108A}" dt="2023-11-13T08:33:41.766" v="10" actId="478"/>
          <ac:spMkLst>
            <pc:docMk/>
            <pc:sldMk cId="3520947470" sldId="267"/>
            <ac:spMk id="39" creationId="{4451FE2D-BC1E-3DE1-DB70-576AF8C38AA2}"/>
          </ac:spMkLst>
        </pc:spChg>
        <pc:picChg chg="add del mod">
          <ac:chgData name="Maria Hortense Braz de Matos" userId="5bc5b675-87f3-446e-af61-8743361a8ab5" providerId="ADAL" clId="{4DD53DB0-9DE3-4862-9681-91E06199108A}" dt="2023-12-01T11:42:40.294" v="3557" actId="478"/>
          <ac:picMkLst>
            <pc:docMk/>
            <pc:sldMk cId="3520947470" sldId="267"/>
            <ac:picMk id="4" creationId="{D3D31165-B5C1-8BF1-6DC0-B66532A30F8F}"/>
          </ac:picMkLst>
        </pc:picChg>
        <pc:picChg chg="add mod">
          <ac:chgData name="Maria Hortense Braz de Matos" userId="5bc5b675-87f3-446e-af61-8743361a8ab5" providerId="ADAL" clId="{4DD53DB0-9DE3-4862-9681-91E06199108A}" dt="2023-12-01T12:44:50.410" v="3848" actId="1076"/>
          <ac:picMkLst>
            <pc:docMk/>
            <pc:sldMk cId="3520947470" sldId="267"/>
            <ac:picMk id="5122" creationId="{2AD06DB8-B70A-8B18-5CA1-5ECDB90BDF04}"/>
          </ac:picMkLst>
        </pc:picChg>
        <pc:picChg chg="add del">
          <ac:chgData name="Maria Hortense Braz de Matos" userId="5bc5b675-87f3-446e-af61-8743361a8ab5" providerId="ADAL" clId="{4DD53DB0-9DE3-4862-9681-91E06199108A}" dt="2023-12-01T12:45:32.784" v="3850" actId="478"/>
          <ac:picMkLst>
            <pc:docMk/>
            <pc:sldMk cId="3520947470" sldId="267"/>
            <ac:picMk id="5124" creationId="{841BCCEB-70C1-8A41-82CB-EDC48BE65AD8}"/>
          </ac:picMkLst>
        </pc:picChg>
        <pc:picChg chg="add mod">
          <ac:chgData name="Maria Hortense Braz de Matos" userId="5bc5b675-87f3-446e-af61-8743361a8ab5" providerId="ADAL" clId="{4DD53DB0-9DE3-4862-9681-91E06199108A}" dt="2023-12-01T12:45:47.750" v="3852" actId="1076"/>
          <ac:picMkLst>
            <pc:docMk/>
            <pc:sldMk cId="3520947470" sldId="267"/>
            <ac:picMk id="5126" creationId="{836170BE-9EC4-1492-69D2-7D5BD0EC5530}"/>
          </ac:picMkLst>
        </pc:picChg>
        <pc:picChg chg="add del mod">
          <ac:chgData name="Maria Hortense Braz de Matos" userId="5bc5b675-87f3-446e-af61-8743361a8ab5" providerId="ADAL" clId="{4DD53DB0-9DE3-4862-9681-91E06199108A}" dt="2023-12-01T12:46:38.713" v="3856" actId="478"/>
          <ac:picMkLst>
            <pc:docMk/>
            <pc:sldMk cId="3520947470" sldId="267"/>
            <ac:picMk id="5128" creationId="{63BD5E3A-E275-BC1B-B7B6-9EC3956C5A86}"/>
          </ac:picMkLst>
        </pc:picChg>
        <pc:picChg chg="add del mod">
          <ac:chgData name="Maria Hortense Braz de Matos" userId="5bc5b675-87f3-446e-af61-8743361a8ab5" providerId="ADAL" clId="{4DD53DB0-9DE3-4862-9681-91E06199108A}" dt="2023-12-01T12:48:37.084" v="3868" actId="478"/>
          <ac:picMkLst>
            <pc:docMk/>
            <pc:sldMk cId="3520947470" sldId="267"/>
            <ac:picMk id="5130" creationId="{119B105F-EE8A-6E84-EE0A-F42CAE9F8442}"/>
          </ac:picMkLst>
        </pc:picChg>
        <pc:picChg chg="add mod">
          <ac:chgData name="Maria Hortense Braz de Matos" userId="5bc5b675-87f3-446e-af61-8743361a8ab5" providerId="ADAL" clId="{4DD53DB0-9DE3-4862-9681-91E06199108A}" dt="2023-12-01T12:49:29.319" v="3870" actId="1076"/>
          <ac:picMkLst>
            <pc:docMk/>
            <pc:sldMk cId="3520947470" sldId="267"/>
            <ac:picMk id="5132" creationId="{0047C250-324A-B893-975C-4D646576D760}"/>
          </ac:picMkLst>
        </pc:picChg>
        <pc:picChg chg="add del mod">
          <ac:chgData name="Maria Hortense Braz de Matos" userId="5bc5b675-87f3-446e-af61-8743361a8ab5" providerId="ADAL" clId="{4DD53DB0-9DE3-4862-9681-91E06199108A}" dt="2023-12-01T12:48:16.142" v="3863" actId="478"/>
          <ac:picMkLst>
            <pc:docMk/>
            <pc:sldMk cId="3520947470" sldId="267"/>
            <ac:picMk id="5134" creationId="{574AB553-2888-CED6-53B5-9A6BF27EEEFC}"/>
          </ac:picMkLst>
        </pc:picChg>
      </pc:sldChg>
      <pc:sldChg chg="addSp delSp modSp mod ord modClrScheme delCm chgLayout">
        <pc:chgData name="Maria Hortense Braz de Matos" userId="5bc5b675-87f3-446e-af61-8743361a8ab5" providerId="ADAL" clId="{4DD53DB0-9DE3-4862-9681-91E06199108A}" dt="2023-12-03T17:17:02.087" v="9127"/>
        <pc:sldMkLst>
          <pc:docMk/>
          <pc:sldMk cId="2600468727" sldId="270"/>
        </pc:sldMkLst>
        <pc:spChg chg="add del mod ord">
          <ac:chgData name="Maria Hortense Braz de Matos" userId="5bc5b675-87f3-446e-af61-8743361a8ab5" providerId="ADAL" clId="{4DD53DB0-9DE3-4862-9681-91E06199108A}" dt="2023-12-01T10:19:05.276" v="1623" actId="478"/>
          <ac:spMkLst>
            <pc:docMk/>
            <pc:sldMk cId="2600468727" sldId="270"/>
            <ac:spMk id="5" creationId="{3DDD4995-6842-E637-7D7D-45D506C86C7A}"/>
          </ac:spMkLst>
        </pc:spChg>
        <pc:spChg chg="mod">
          <ac:chgData name="Maria Hortense Braz de Matos" userId="5bc5b675-87f3-446e-af61-8743361a8ab5" providerId="ADAL" clId="{4DD53DB0-9DE3-4862-9681-91E06199108A}" dt="2023-12-02T15:27:17.992" v="8251" actId="20577"/>
          <ac:spMkLst>
            <pc:docMk/>
            <pc:sldMk cId="2600468727" sldId="270"/>
            <ac:spMk id="16" creationId="{DF29E7B4-6607-540B-2D74-612452C5FB5A}"/>
          </ac:spMkLst>
        </pc:spChg>
        <pc:graphicFrameChg chg="mod">
          <ac:chgData name="Maria Hortense Braz de Matos" userId="5bc5b675-87f3-446e-af61-8743361a8ab5" providerId="ADAL" clId="{4DD53DB0-9DE3-4862-9681-91E06199108A}" dt="2023-12-01T12:51:03.501" v="3905" actId="20577"/>
          <ac:graphicFrameMkLst>
            <pc:docMk/>
            <pc:sldMk cId="2600468727" sldId="270"/>
            <ac:graphicFrameMk id="2" creationId="{05540156-63B3-F0B3-69B0-850741C21F54}"/>
          </ac:graphicFrameMkLst>
        </pc:graphicFrameChg>
      </pc:sldChg>
      <pc:sldChg chg="addSp delSp modSp mod modClrScheme delCm modCm chgLayout">
        <pc:chgData name="Maria Hortense Braz de Matos" userId="5bc5b675-87f3-446e-af61-8743361a8ab5" providerId="ADAL" clId="{4DD53DB0-9DE3-4862-9681-91E06199108A}" dt="2023-12-03T17:30:46.059" v="9412" actId="1036"/>
        <pc:sldMkLst>
          <pc:docMk/>
          <pc:sldMk cId="3674208978" sldId="271"/>
        </pc:sldMkLst>
        <pc:spChg chg="mod">
          <ac:chgData name="Maria Hortense Braz de Matos" userId="5bc5b675-87f3-446e-af61-8743361a8ab5" providerId="ADAL" clId="{4DD53DB0-9DE3-4862-9681-91E06199108A}" dt="2023-12-03T17:30:46.059" v="9412" actId="1036"/>
          <ac:spMkLst>
            <pc:docMk/>
            <pc:sldMk cId="3674208978" sldId="271"/>
            <ac:spMk id="3" creationId="{5546F4E6-8DC5-1A81-2628-26990ECC3B32}"/>
          </ac:spMkLst>
        </pc:spChg>
        <pc:spChg chg="mod">
          <ac:chgData name="Maria Hortense Braz de Matos" userId="5bc5b675-87f3-446e-af61-8743361a8ab5" providerId="ADAL" clId="{4DD53DB0-9DE3-4862-9681-91E06199108A}" dt="2023-12-03T17:30:46.059" v="9412" actId="1036"/>
          <ac:spMkLst>
            <pc:docMk/>
            <pc:sldMk cId="3674208978" sldId="271"/>
            <ac:spMk id="4" creationId="{DD68A98E-A2B6-F0B8-6AA0-4A06453DDEB1}"/>
          </ac:spMkLst>
        </pc:spChg>
        <pc:spChg chg="add del mod ord">
          <ac:chgData name="Maria Hortense Braz de Matos" userId="5bc5b675-87f3-446e-af61-8743361a8ab5" providerId="ADAL" clId="{4DD53DB0-9DE3-4862-9681-91E06199108A}" dt="2023-11-30T19:31:37.198" v="831" actId="478"/>
          <ac:spMkLst>
            <pc:docMk/>
            <pc:sldMk cId="3674208978" sldId="271"/>
            <ac:spMk id="5" creationId="{18695B2B-DFA0-64EE-6C15-5F3F7FC452BD}"/>
          </ac:spMkLst>
        </pc:spChg>
        <pc:spChg chg="add mod">
          <ac:chgData name="Maria Hortense Braz de Matos" userId="5bc5b675-87f3-446e-af61-8743361a8ab5" providerId="ADAL" clId="{4DD53DB0-9DE3-4862-9681-91E06199108A}" dt="2023-12-03T17:29:22.643" v="9392" actId="20577"/>
          <ac:spMkLst>
            <pc:docMk/>
            <pc:sldMk cId="3674208978" sldId="271"/>
            <ac:spMk id="6" creationId="{670AD740-E629-1BA7-1807-3CE135168FAD}"/>
          </ac:spMkLst>
        </pc:spChg>
        <pc:spChg chg="mod">
          <ac:chgData name="Maria Hortense Braz de Matos" userId="5bc5b675-87f3-446e-af61-8743361a8ab5" providerId="ADAL" clId="{4DD53DB0-9DE3-4862-9681-91E06199108A}" dt="2023-12-03T17:30:46.059" v="9412" actId="1036"/>
          <ac:spMkLst>
            <pc:docMk/>
            <pc:sldMk cId="3674208978" sldId="271"/>
            <ac:spMk id="10" creationId="{080201A8-8130-9940-0CF2-C0372A44A88D}"/>
          </ac:spMkLst>
        </pc:spChg>
        <pc:spChg chg="mod">
          <ac:chgData name="Maria Hortense Braz de Matos" userId="5bc5b675-87f3-446e-af61-8743361a8ab5" providerId="ADAL" clId="{4DD53DB0-9DE3-4862-9681-91E06199108A}" dt="2023-12-03T17:30:46.059" v="9412" actId="1036"/>
          <ac:spMkLst>
            <pc:docMk/>
            <pc:sldMk cId="3674208978" sldId="271"/>
            <ac:spMk id="11" creationId="{ED751B13-18AC-48F0-FFEE-047FE223283B}"/>
          </ac:spMkLst>
        </pc:spChg>
        <pc:spChg chg="mod">
          <ac:chgData name="Maria Hortense Braz de Matos" userId="5bc5b675-87f3-446e-af61-8743361a8ab5" providerId="ADAL" clId="{4DD53DB0-9DE3-4862-9681-91E06199108A}" dt="2023-12-01T10:18:20.724" v="1619" actId="13926"/>
          <ac:spMkLst>
            <pc:docMk/>
            <pc:sldMk cId="3674208978" sldId="271"/>
            <ac:spMk id="16" creationId="{DF29E7B4-6607-540B-2D74-612452C5FB5A}"/>
          </ac:spMkLst>
        </pc:spChg>
        <pc:graphicFrameChg chg="mod">
          <ac:chgData name="Maria Hortense Braz de Matos" userId="5bc5b675-87f3-446e-af61-8743361a8ab5" providerId="ADAL" clId="{4DD53DB0-9DE3-4862-9681-91E06199108A}" dt="2023-12-03T17:30:46.059" v="9412" actId="1036"/>
          <ac:graphicFrameMkLst>
            <pc:docMk/>
            <pc:sldMk cId="3674208978" sldId="271"/>
            <ac:graphicFrameMk id="2" creationId="{05540156-63B3-F0B3-69B0-850741C21F54}"/>
          </ac:graphicFrameMkLst>
        </pc:graphicFrameChg>
      </pc:sldChg>
      <pc:sldChg chg="modSp mod modClrScheme chgLayout">
        <pc:chgData name="Maria Hortense Braz de Matos" userId="5bc5b675-87f3-446e-af61-8743361a8ab5" providerId="ADAL" clId="{4DD53DB0-9DE3-4862-9681-91E06199108A}" dt="2023-12-02T15:27:09.440" v="8243" actId="20577"/>
        <pc:sldMkLst>
          <pc:docMk/>
          <pc:sldMk cId="3441885173" sldId="272"/>
        </pc:sldMkLst>
        <pc:spChg chg="mod">
          <ac:chgData name="Maria Hortense Braz de Matos" userId="5bc5b675-87f3-446e-af61-8743361a8ab5" providerId="ADAL" clId="{4DD53DB0-9DE3-4862-9681-91E06199108A}" dt="2023-12-02T15:27:09.440" v="8243" actId="20577"/>
          <ac:spMkLst>
            <pc:docMk/>
            <pc:sldMk cId="3441885173" sldId="272"/>
            <ac:spMk id="4" creationId="{2EC120C7-F47D-B4DB-751E-81918A6CF3CA}"/>
          </ac:spMkLst>
        </pc:spChg>
        <pc:spChg chg="mod ord">
          <ac:chgData name="Maria Hortense Braz de Matos" userId="5bc5b675-87f3-446e-af61-8743361a8ab5" providerId="ADAL" clId="{4DD53DB0-9DE3-4862-9681-91E06199108A}" dt="2023-11-30T19:27:46.651" v="800" actId="700"/>
          <ac:spMkLst>
            <pc:docMk/>
            <pc:sldMk cId="3441885173" sldId="272"/>
            <ac:spMk id="23" creationId="{0FBB4737-C0B4-620F-A464-0BF85F3822D1}"/>
          </ac:spMkLst>
        </pc:spChg>
      </pc:sldChg>
      <pc:sldChg chg="addSp modSp del mod modClrScheme chgLayout">
        <pc:chgData name="Maria Hortense Braz de Matos" userId="5bc5b675-87f3-446e-af61-8743361a8ab5" providerId="ADAL" clId="{4DD53DB0-9DE3-4862-9681-91E06199108A}" dt="2023-12-01T11:41:45.648" v="3501" actId="47"/>
        <pc:sldMkLst>
          <pc:docMk/>
          <pc:sldMk cId="1667282569" sldId="273"/>
        </pc:sldMkLst>
        <pc:spChg chg="add mod">
          <ac:chgData name="Maria Hortense Braz de Matos" userId="5bc5b675-87f3-446e-af61-8743361a8ab5" providerId="ADAL" clId="{4DD53DB0-9DE3-4862-9681-91E06199108A}" dt="2023-11-13T08:48:27.549" v="577" actId="20577"/>
          <ac:spMkLst>
            <pc:docMk/>
            <pc:sldMk cId="1667282569" sldId="273"/>
            <ac:spMk id="3" creationId="{5F05D997-6BF9-E329-7556-4CEF70FFB72A}"/>
          </ac:spMkLst>
        </pc:spChg>
        <pc:spChg chg="add mod ord">
          <ac:chgData name="Maria Hortense Braz de Matos" userId="5bc5b675-87f3-446e-af61-8743361a8ab5" providerId="ADAL" clId="{4DD53DB0-9DE3-4862-9681-91E06199108A}" dt="2023-11-30T19:27:46.651" v="800" actId="700"/>
          <ac:spMkLst>
            <pc:docMk/>
            <pc:sldMk cId="1667282569" sldId="273"/>
            <ac:spMk id="4" creationId="{9A99B5E0-E3F4-F4D7-8F04-0373F0F62ED8}"/>
          </ac:spMkLst>
        </pc:spChg>
        <pc:graphicFrameChg chg="mod">
          <ac:chgData name="Maria Hortense Braz de Matos" userId="5bc5b675-87f3-446e-af61-8743361a8ab5" providerId="ADAL" clId="{4DD53DB0-9DE3-4862-9681-91E06199108A}" dt="2023-11-13T08:53:46.693" v="628" actId="1076"/>
          <ac:graphicFrameMkLst>
            <pc:docMk/>
            <pc:sldMk cId="1667282569" sldId="273"/>
            <ac:graphicFrameMk id="6" creationId="{3B34621D-0D73-D338-8B48-9E98295ECB65}"/>
          </ac:graphicFrameMkLst>
        </pc:graphicFrameChg>
      </pc:sldChg>
      <pc:sldChg chg="del">
        <pc:chgData name="Maria Hortense Braz de Matos" userId="5bc5b675-87f3-446e-af61-8743361a8ab5" providerId="ADAL" clId="{4DD53DB0-9DE3-4862-9681-91E06199108A}" dt="2023-11-13T08:31:40.704" v="6" actId="47"/>
        <pc:sldMkLst>
          <pc:docMk/>
          <pc:sldMk cId="2913894127" sldId="297"/>
        </pc:sldMkLst>
      </pc:sldChg>
      <pc:sldChg chg="del">
        <pc:chgData name="Maria Hortense Braz de Matos" userId="5bc5b675-87f3-446e-af61-8743361a8ab5" providerId="ADAL" clId="{4DD53DB0-9DE3-4862-9681-91E06199108A}" dt="2023-11-13T08:31:37.064" v="4" actId="47"/>
        <pc:sldMkLst>
          <pc:docMk/>
          <pc:sldMk cId="1995024155" sldId="298"/>
        </pc:sldMkLst>
      </pc:sldChg>
      <pc:sldChg chg="modSp del mod">
        <pc:chgData name="Maria Hortense Braz de Matos" userId="5bc5b675-87f3-446e-af61-8743361a8ab5" providerId="ADAL" clId="{4DD53DB0-9DE3-4862-9681-91E06199108A}" dt="2023-11-13T08:31:41.756" v="7" actId="47"/>
        <pc:sldMkLst>
          <pc:docMk/>
          <pc:sldMk cId="329053166" sldId="309"/>
        </pc:sldMkLst>
        <pc:picChg chg="mod">
          <ac:chgData name="Maria Hortense Braz de Matos" userId="5bc5b675-87f3-446e-af61-8743361a8ab5" providerId="ADAL" clId="{4DD53DB0-9DE3-4862-9681-91E06199108A}" dt="2023-11-10T18:45:33.305" v="1" actId="1076"/>
          <ac:picMkLst>
            <pc:docMk/>
            <pc:sldMk cId="329053166" sldId="309"/>
            <ac:picMk id="10" creationId="{26859BAE-5DEA-8992-B647-6D2381832188}"/>
          </ac:picMkLst>
        </pc:picChg>
      </pc:sldChg>
      <pc:sldChg chg="del">
        <pc:chgData name="Maria Hortense Braz de Matos" userId="5bc5b675-87f3-446e-af61-8743361a8ab5" providerId="ADAL" clId="{4DD53DB0-9DE3-4862-9681-91E06199108A}" dt="2023-11-13T08:31:42.801" v="8" actId="47"/>
        <pc:sldMkLst>
          <pc:docMk/>
          <pc:sldMk cId="1498510091" sldId="311"/>
        </pc:sldMkLst>
      </pc:sldChg>
      <pc:sldChg chg="del">
        <pc:chgData name="Maria Hortense Braz de Matos" userId="5bc5b675-87f3-446e-af61-8743361a8ab5" providerId="ADAL" clId="{4DD53DB0-9DE3-4862-9681-91E06199108A}" dt="2023-11-13T08:41:23.257" v="253" actId="47"/>
        <pc:sldMkLst>
          <pc:docMk/>
          <pc:sldMk cId="852033342" sldId="340"/>
        </pc:sldMkLst>
      </pc:sldChg>
      <pc:sldChg chg="del">
        <pc:chgData name="Maria Hortense Braz de Matos" userId="5bc5b675-87f3-446e-af61-8743361a8ab5" providerId="ADAL" clId="{4DD53DB0-9DE3-4862-9681-91E06199108A}" dt="2023-11-13T08:44:03.652" v="332" actId="47"/>
        <pc:sldMkLst>
          <pc:docMk/>
          <pc:sldMk cId="958708558" sldId="341"/>
        </pc:sldMkLst>
      </pc:sldChg>
      <pc:sldChg chg="del">
        <pc:chgData name="Maria Hortense Braz de Matos" userId="5bc5b675-87f3-446e-af61-8743361a8ab5" providerId="ADAL" clId="{4DD53DB0-9DE3-4862-9681-91E06199108A}" dt="2023-11-13T08:44:59.110" v="362" actId="47"/>
        <pc:sldMkLst>
          <pc:docMk/>
          <pc:sldMk cId="1864013649" sldId="342"/>
        </pc:sldMkLst>
      </pc:sldChg>
      <pc:sldChg chg="modSp del mod">
        <pc:chgData name="Maria Hortense Braz de Matos" userId="5bc5b675-87f3-446e-af61-8743361a8ab5" providerId="ADAL" clId="{4DD53DB0-9DE3-4862-9681-91E06199108A}" dt="2023-11-13T08:44:09.415" v="334" actId="47"/>
        <pc:sldMkLst>
          <pc:docMk/>
          <pc:sldMk cId="292950482" sldId="369"/>
        </pc:sldMkLst>
        <pc:picChg chg="mod">
          <ac:chgData name="Maria Hortense Braz de Matos" userId="5bc5b675-87f3-446e-af61-8743361a8ab5" providerId="ADAL" clId="{4DD53DB0-9DE3-4862-9681-91E06199108A}" dt="2023-11-13T08:34:43.038" v="92" actId="1076"/>
          <ac:picMkLst>
            <pc:docMk/>
            <pc:sldMk cId="292950482" sldId="369"/>
            <ac:picMk id="4" creationId="{CA40849F-F326-6090-47E8-2A5506BCBD36}"/>
          </ac:picMkLst>
        </pc:picChg>
      </pc:sldChg>
      <pc:sldChg chg="del">
        <pc:chgData name="Maria Hortense Braz de Matos" userId="5bc5b675-87f3-446e-af61-8743361a8ab5" providerId="ADAL" clId="{4DD53DB0-9DE3-4862-9681-91E06199108A}" dt="2023-11-13T08:45:03.701" v="363" actId="47"/>
        <pc:sldMkLst>
          <pc:docMk/>
          <pc:sldMk cId="647979418" sldId="371"/>
        </pc:sldMkLst>
      </pc:sldChg>
      <pc:sldChg chg="del ord">
        <pc:chgData name="Maria Hortense Braz de Matos" userId="5bc5b675-87f3-446e-af61-8743361a8ab5" providerId="ADAL" clId="{4DD53DB0-9DE3-4862-9681-91E06199108A}" dt="2023-11-30T19:27:07.882" v="791" actId="47"/>
        <pc:sldMkLst>
          <pc:docMk/>
          <pc:sldMk cId="3236892630" sldId="372"/>
        </pc:sldMkLst>
      </pc:sldChg>
      <pc:sldChg chg="del">
        <pc:chgData name="Maria Hortense Braz de Matos" userId="5bc5b675-87f3-446e-af61-8743361a8ab5" providerId="ADAL" clId="{4DD53DB0-9DE3-4862-9681-91E06199108A}" dt="2023-11-13T08:38:50.354" v="215" actId="47"/>
        <pc:sldMkLst>
          <pc:docMk/>
          <pc:sldMk cId="2338237551" sldId="373"/>
        </pc:sldMkLst>
      </pc:sldChg>
      <pc:sldChg chg="del ord">
        <pc:chgData name="Maria Hortense Braz de Matos" userId="5bc5b675-87f3-446e-af61-8743361a8ab5" providerId="ADAL" clId="{4DD53DB0-9DE3-4862-9681-91E06199108A}" dt="2023-11-30T19:27:08.696" v="792" actId="47"/>
        <pc:sldMkLst>
          <pc:docMk/>
          <pc:sldMk cId="4241352266" sldId="375"/>
        </pc:sldMkLst>
      </pc:sldChg>
      <pc:sldChg chg="del ord">
        <pc:chgData name="Maria Hortense Braz de Matos" userId="5bc5b675-87f3-446e-af61-8743361a8ab5" providerId="ADAL" clId="{4DD53DB0-9DE3-4862-9681-91E06199108A}" dt="2023-11-30T19:27:11.062" v="793" actId="47"/>
        <pc:sldMkLst>
          <pc:docMk/>
          <pc:sldMk cId="3131200310" sldId="376"/>
        </pc:sldMkLst>
      </pc:sldChg>
      <pc:sldChg chg="delSp del mod">
        <pc:chgData name="Maria Hortense Braz de Matos" userId="5bc5b675-87f3-446e-af61-8743361a8ab5" providerId="ADAL" clId="{4DD53DB0-9DE3-4862-9681-91E06199108A}" dt="2023-11-13T08:38:42.082" v="213" actId="47"/>
        <pc:sldMkLst>
          <pc:docMk/>
          <pc:sldMk cId="2936826855" sldId="377"/>
        </pc:sldMkLst>
        <pc:picChg chg="del">
          <ac:chgData name="Maria Hortense Braz de Matos" userId="5bc5b675-87f3-446e-af61-8743361a8ab5" providerId="ADAL" clId="{4DD53DB0-9DE3-4862-9681-91E06199108A}" dt="2023-11-13T08:38:35.943" v="209" actId="21"/>
          <ac:picMkLst>
            <pc:docMk/>
            <pc:sldMk cId="2936826855" sldId="377"/>
            <ac:picMk id="5" creationId="{8D66EC30-926E-7091-AF52-96D7509663E7}"/>
          </ac:picMkLst>
        </pc:picChg>
      </pc:sldChg>
      <pc:sldChg chg="del">
        <pc:chgData name="Maria Hortense Braz de Matos" userId="5bc5b675-87f3-446e-af61-8743361a8ab5" providerId="ADAL" clId="{4DD53DB0-9DE3-4862-9681-91E06199108A}" dt="2023-11-13T08:37:31.398" v="184" actId="47"/>
        <pc:sldMkLst>
          <pc:docMk/>
          <pc:sldMk cId="1828338593" sldId="382"/>
        </pc:sldMkLst>
      </pc:sldChg>
      <pc:sldChg chg="del">
        <pc:chgData name="Maria Hortense Braz de Matos" userId="5bc5b675-87f3-446e-af61-8743361a8ab5" providerId="ADAL" clId="{4DD53DB0-9DE3-4862-9681-91E06199108A}" dt="2023-11-13T08:37:30.625" v="183" actId="47"/>
        <pc:sldMkLst>
          <pc:docMk/>
          <pc:sldMk cId="1582084006" sldId="385"/>
        </pc:sldMkLst>
      </pc:sldChg>
      <pc:sldChg chg="del">
        <pc:chgData name="Maria Hortense Braz de Matos" userId="5bc5b675-87f3-446e-af61-8743361a8ab5" providerId="ADAL" clId="{4DD53DB0-9DE3-4862-9681-91E06199108A}" dt="2023-11-13T08:37:33.128" v="185" actId="47"/>
        <pc:sldMkLst>
          <pc:docMk/>
          <pc:sldMk cId="4122872600" sldId="386"/>
        </pc:sldMkLst>
      </pc:sldChg>
      <pc:sldChg chg="del">
        <pc:chgData name="Maria Hortense Braz de Matos" userId="5bc5b675-87f3-446e-af61-8743361a8ab5" providerId="ADAL" clId="{4DD53DB0-9DE3-4862-9681-91E06199108A}" dt="2023-11-13T08:31:45.388" v="9" actId="47"/>
        <pc:sldMkLst>
          <pc:docMk/>
          <pc:sldMk cId="4175939159" sldId="387"/>
        </pc:sldMkLst>
      </pc:sldChg>
      <pc:sldChg chg="modSp mod">
        <pc:chgData name="Maria Hortense Braz de Matos" userId="5bc5b675-87f3-446e-af61-8743361a8ab5" providerId="ADAL" clId="{4DD53DB0-9DE3-4862-9681-91E06199108A}" dt="2023-12-02T15:26:11.553" v="8229" actId="113"/>
        <pc:sldMkLst>
          <pc:docMk/>
          <pc:sldMk cId="2781921875" sldId="388"/>
        </pc:sldMkLst>
        <pc:spChg chg="mod">
          <ac:chgData name="Maria Hortense Braz de Matos" userId="5bc5b675-87f3-446e-af61-8743361a8ab5" providerId="ADAL" clId="{4DD53DB0-9DE3-4862-9681-91E06199108A}" dt="2023-12-02T15:25:35.303" v="8218" actId="207"/>
          <ac:spMkLst>
            <pc:docMk/>
            <pc:sldMk cId="2781921875" sldId="388"/>
            <ac:spMk id="5" creationId="{549CF0A3-E3FF-D0C1-287F-CD1E590B92FA}"/>
          </ac:spMkLst>
        </pc:spChg>
        <pc:spChg chg="mod">
          <ac:chgData name="Maria Hortense Braz de Matos" userId="5bc5b675-87f3-446e-af61-8743361a8ab5" providerId="ADAL" clId="{4DD53DB0-9DE3-4862-9681-91E06199108A}" dt="2023-12-02T15:26:11.553" v="8229" actId="113"/>
          <ac:spMkLst>
            <pc:docMk/>
            <pc:sldMk cId="2781921875" sldId="388"/>
            <ac:spMk id="6" creationId="{F4FE3670-AC17-8764-341A-8D9A3E4411B4}"/>
          </ac:spMkLst>
        </pc:spChg>
      </pc:sldChg>
      <pc:sldChg chg="addSp delSp modSp del mod chgLayout">
        <pc:chgData name="Maria Hortense Braz de Matos" userId="5bc5b675-87f3-446e-af61-8743361a8ab5" providerId="ADAL" clId="{4DD53DB0-9DE3-4862-9681-91E06199108A}" dt="2023-12-01T09:41:30.607" v="1010" actId="47"/>
        <pc:sldMkLst>
          <pc:docMk/>
          <pc:sldMk cId="2903590327" sldId="389"/>
        </pc:sldMkLst>
        <pc:spChg chg="add mod">
          <ac:chgData name="Maria Hortense Braz de Matos" userId="5bc5b675-87f3-446e-af61-8743361a8ab5" providerId="ADAL" clId="{4DD53DB0-9DE3-4862-9681-91E06199108A}" dt="2023-11-30T19:33:47.211" v="964" actId="207"/>
          <ac:spMkLst>
            <pc:docMk/>
            <pc:sldMk cId="2903590327" sldId="389"/>
            <ac:spMk id="2" creationId="{55EC9EB9-31D0-746C-6198-45C05945FE60}"/>
          </ac:spMkLst>
        </pc:spChg>
        <pc:spChg chg="add del mod ord">
          <ac:chgData name="Maria Hortense Braz de Matos" userId="5bc5b675-87f3-446e-af61-8743361a8ab5" providerId="ADAL" clId="{4DD53DB0-9DE3-4862-9681-91E06199108A}" dt="2023-11-30T19:32:05.952" v="840" actId="478"/>
          <ac:spMkLst>
            <pc:docMk/>
            <pc:sldMk cId="2903590327" sldId="389"/>
            <ac:spMk id="3" creationId="{1DAAF400-4B86-C413-B734-EF0A2EC206FB}"/>
          </ac:spMkLst>
        </pc:spChg>
        <pc:spChg chg="mod">
          <ac:chgData name="Maria Hortense Braz de Matos" userId="5bc5b675-87f3-446e-af61-8743361a8ab5" providerId="ADAL" clId="{4DD53DB0-9DE3-4862-9681-91E06199108A}" dt="2023-11-29T10:55:45.685" v="680" actId="14100"/>
          <ac:spMkLst>
            <pc:docMk/>
            <pc:sldMk cId="2903590327" sldId="389"/>
            <ac:spMk id="11" creationId="{BBB1EDE9-137C-6C8A-6368-78A88E8A23D9}"/>
          </ac:spMkLst>
        </pc:spChg>
        <pc:spChg chg="mod">
          <ac:chgData name="Maria Hortense Braz de Matos" userId="5bc5b675-87f3-446e-af61-8743361a8ab5" providerId="ADAL" clId="{4DD53DB0-9DE3-4862-9681-91E06199108A}" dt="2023-11-29T10:53:24.351" v="649" actId="403"/>
          <ac:spMkLst>
            <pc:docMk/>
            <pc:sldMk cId="2903590327" sldId="389"/>
            <ac:spMk id="23" creationId="{64F189DA-5BA4-E9F4-36A5-696A1A35E515}"/>
          </ac:spMkLst>
        </pc:spChg>
        <pc:spChg chg="mod">
          <ac:chgData name="Maria Hortense Braz de Matos" userId="5bc5b675-87f3-446e-af61-8743361a8ab5" providerId="ADAL" clId="{4DD53DB0-9DE3-4862-9681-91E06199108A}" dt="2023-11-29T10:53:44.023" v="653" actId="27636"/>
          <ac:spMkLst>
            <pc:docMk/>
            <pc:sldMk cId="2903590327" sldId="389"/>
            <ac:spMk id="24" creationId="{1D6214E3-76CC-91C9-F33A-7C77C3F7856C}"/>
          </ac:spMkLst>
        </pc:spChg>
        <pc:spChg chg="mod">
          <ac:chgData name="Maria Hortense Braz de Matos" userId="5bc5b675-87f3-446e-af61-8743361a8ab5" providerId="ADAL" clId="{4DD53DB0-9DE3-4862-9681-91E06199108A}" dt="2023-11-29T10:56:12.151" v="690" actId="14100"/>
          <ac:spMkLst>
            <pc:docMk/>
            <pc:sldMk cId="2903590327" sldId="389"/>
            <ac:spMk id="31" creationId="{1FA2C0B4-5D27-873D-C264-E09BC8B3D784}"/>
          </ac:spMkLst>
        </pc:spChg>
        <pc:spChg chg="mod">
          <ac:chgData name="Maria Hortense Braz de Matos" userId="5bc5b675-87f3-446e-af61-8743361a8ab5" providerId="ADAL" clId="{4DD53DB0-9DE3-4862-9681-91E06199108A}" dt="2023-11-29T10:54:03.125" v="655" actId="113"/>
          <ac:spMkLst>
            <pc:docMk/>
            <pc:sldMk cId="2903590327" sldId="389"/>
            <ac:spMk id="32" creationId="{4B504713-CA68-7D53-2CBF-47352B0273EA}"/>
          </ac:spMkLst>
        </pc:spChg>
        <pc:spChg chg="mod">
          <ac:chgData name="Maria Hortense Braz de Matos" userId="5bc5b675-87f3-446e-af61-8743361a8ab5" providerId="ADAL" clId="{4DD53DB0-9DE3-4862-9681-91E06199108A}" dt="2023-11-29T10:56:16.380" v="696" actId="1038"/>
          <ac:spMkLst>
            <pc:docMk/>
            <pc:sldMk cId="2903590327" sldId="389"/>
            <ac:spMk id="33" creationId="{1BC0E35A-BCB8-D92A-8B52-2CFB822B43A8}"/>
          </ac:spMkLst>
        </pc:spChg>
        <pc:spChg chg="mod">
          <ac:chgData name="Maria Hortense Braz de Matos" userId="5bc5b675-87f3-446e-af61-8743361a8ab5" providerId="ADAL" clId="{4DD53DB0-9DE3-4862-9681-91E06199108A}" dt="2023-11-29T10:53:35.821" v="651" actId="255"/>
          <ac:spMkLst>
            <pc:docMk/>
            <pc:sldMk cId="2903590327" sldId="389"/>
            <ac:spMk id="36" creationId="{E04B0B70-9F83-E11F-3715-59E1A492980E}"/>
          </ac:spMkLst>
        </pc:spChg>
        <pc:spChg chg="mod">
          <ac:chgData name="Maria Hortense Braz de Matos" userId="5bc5b675-87f3-446e-af61-8743361a8ab5" providerId="ADAL" clId="{4DD53DB0-9DE3-4862-9681-91E06199108A}" dt="2023-11-30T19:32:03.377" v="839" actId="27636"/>
          <ac:spMkLst>
            <pc:docMk/>
            <pc:sldMk cId="2903590327" sldId="389"/>
            <ac:spMk id="37" creationId="{AD4D45B0-5E57-0366-5454-2587875C7E6C}"/>
          </ac:spMkLst>
        </pc:spChg>
        <pc:graphicFrameChg chg="mod">
          <ac:chgData name="Maria Hortense Braz de Matos" userId="5bc5b675-87f3-446e-af61-8743361a8ab5" providerId="ADAL" clId="{4DD53DB0-9DE3-4862-9681-91E06199108A}" dt="2023-11-29T10:59:03.038" v="776"/>
          <ac:graphicFrameMkLst>
            <pc:docMk/>
            <pc:sldMk cId="2903590327" sldId="389"/>
            <ac:graphicFrameMk id="30" creationId="{CF65017F-7091-CDAF-B4E9-CA72DFBB022F}"/>
          </ac:graphicFrameMkLst>
        </pc:graphicFrameChg>
        <pc:graphicFrameChg chg="mod">
          <ac:chgData name="Maria Hortense Braz de Matos" userId="5bc5b675-87f3-446e-af61-8743361a8ab5" providerId="ADAL" clId="{4DD53DB0-9DE3-4862-9681-91E06199108A}" dt="2023-11-29T10:54:53.777" v="667" actId="404"/>
          <ac:graphicFrameMkLst>
            <pc:docMk/>
            <pc:sldMk cId="2903590327" sldId="389"/>
            <ac:graphicFrameMk id="34" creationId="{EC0EAFE1-EEBF-4867-3889-A7327FD49B26}"/>
          </ac:graphicFrameMkLst>
        </pc:graphicFrameChg>
      </pc:sldChg>
      <pc:sldChg chg="addSp delSp modSp add del mod ord modShow">
        <pc:chgData name="Maria Hortense Braz de Matos" userId="5bc5b675-87f3-446e-af61-8743361a8ab5" providerId="ADAL" clId="{4DD53DB0-9DE3-4862-9681-91E06199108A}" dt="2023-12-01T14:37:32.585" v="5838" actId="47"/>
        <pc:sldMkLst>
          <pc:docMk/>
          <pc:sldMk cId="2790814171" sldId="390"/>
        </pc:sldMkLst>
        <pc:spChg chg="del">
          <ac:chgData name="Maria Hortense Braz de Matos" userId="5bc5b675-87f3-446e-af61-8743361a8ab5" providerId="ADAL" clId="{4DD53DB0-9DE3-4862-9681-91E06199108A}" dt="2023-11-13T08:36:33.516" v="169" actId="478"/>
          <ac:spMkLst>
            <pc:docMk/>
            <pc:sldMk cId="2790814171" sldId="390"/>
            <ac:spMk id="2" creationId="{71ADADE4-FC00-0DB3-91AC-5EB94E087D21}"/>
          </ac:spMkLst>
        </pc:spChg>
        <pc:spChg chg="del">
          <ac:chgData name="Maria Hortense Braz de Matos" userId="5bc5b675-87f3-446e-af61-8743361a8ab5" providerId="ADAL" clId="{4DD53DB0-9DE3-4862-9681-91E06199108A}" dt="2023-11-13T08:36:52.238" v="172" actId="478"/>
          <ac:spMkLst>
            <pc:docMk/>
            <pc:sldMk cId="2790814171" sldId="390"/>
            <ac:spMk id="3" creationId="{1E6B8B7B-A696-5EA4-DEF5-E9720657AD30}"/>
          </ac:spMkLst>
        </pc:spChg>
        <pc:spChg chg="add mod">
          <ac:chgData name="Maria Hortense Braz de Matos" userId="5bc5b675-87f3-446e-af61-8743361a8ab5" providerId="ADAL" clId="{4DD53DB0-9DE3-4862-9681-91E06199108A}" dt="2023-11-13T08:36:36.085" v="170"/>
          <ac:spMkLst>
            <pc:docMk/>
            <pc:sldMk cId="2790814171" sldId="390"/>
            <ac:spMk id="4" creationId="{844B2FBD-BD66-02FC-0511-18167575FFC9}"/>
          </ac:spMkLst>
        </pc:spChg>
        <pc:spChg chg="del">
          <ac:chgData name="Maria Hortense Braz de Matos" userId="5bc5b675-87f3-446e-af61-8743361a8ab5" providerId="ADAL" clId="{4DD53DB0-9DE3-4862-9681-91E06199108A}" dt="2023-11-13T08:36:54.952" v="173" actId="478"/>
          <ac:spMkLst>
            <pc:docMk/>
            <pc:sldMk cId="2790814171" sldId="390"/>
            <ac:spMk id="6" creationId="{AD1F110A-2B3A-8AF7-F75D-E4EEDA99360C}"/>
          </ac:spMkLst>
        </pc:spChg>
        <pc:grpChg chg="add mod">
          <ac:chgData name="Maria Hortense Braz de Matos" userId="5bc5b675-87f3-446e-af61-8743361a8ab5" providerId="ADAL" clId="{4DD53DB0-9DE3-4862-9681-91E06199108A}" dt="2023-11-13T08:54:21.750" v="631"/>
          <ac:grpSpMkLst>
            <pc:docMk/>
            <pc:sldMk cId="2790814171" sldId="390"/>
            <ac:grpSpMk id="5" creationId="{53BE6C7A-095A-C0C2-6469-87D637A59BF2}"/>
          </ac:grpSpMkLst>
        </pc:grpChg>
        <pc:picChg chg="mod">
          <ac:chgData name="Maria Hortense Braz de Matos" userId="5bc5b675-87f3-446e-af61-8743361a8ab5" providerId="ADAL" clId="{4DD53DB0-9DE3-4862-9681-91E06199108A}" dt="2023-11-13T08:36:49.608" v="171"/>
          <ac:picMkLst>
            <pc:docMk/>
            <pc:sldMk cId="2790814171" sldId="390"/>
            <ac:picMk id="7" creationId="{1A7E064C-7055-C3CC-4A14-5BF515D7311D}"/>
          </ac:picMkLst>
        </pc:picChg>
        <pc:picChg chg="mod">
          <ac:chgData name="Maria Hortense Braz de Matos" userId="5bc5b675-87f3-446e-af61-8743361a8ab5" providerId="ADAL" clId="{4DD53DB0-9DE3-4862-9681-91E06199108A}" dt="2023-11-13T08:36:49.608" v="171"/>
          <ac:picMkLst>
            <pc:docMk/>
            <pc:sldMk cId="2790814171" sldId="390"/>
            <ac:picMk id="8" creationId="{B1EB6F63-CECC-7962-6237-115D3F9EF42B}"/>
          </ac:picMkLst>
        </pc:picChg>
        <pc:picChg chg="add mod">
          <ac:chgData name="Maria Hortense Braz de Matos" userId="5bc5b675-87f3-446e-af61-8743361a8ab5" providerId="ADAL" clId="{4DD53DB0-9DE3-4862-9681-91E06199108A}" dt="2023-11-13T08:54:24.332" v="632"/>
          <ac:picMkLst>
            <pc:docMk/>
            <pc:sldMk cId="2790814171" sldId="390"/>
            <ac:picMk id="9" creationId="{20CD3BC0-EBA3-C787-3B0F-E81FCCB5F5AD}"/>
          </ac:picMkLst>
        </pc:picChg>
        <pc:picChg chg="add mod">
          <ac:chgData name="Maria Hortense Braz de Matos" userId="5bc5b675-87f3-446e-af61-8743361a8ab5" providerId="ADAL" clId="{4DD53DB0-9DE3-4862-9681-91E06199108A}" dt="2023-11-13T08:54:26.720" v="633"/>
          <ac:picMkLst>
            <pc:docMk/>
            <pc:sldMk cId="2790814171" sldId="390"/>
            <ac:picMk id="10" creationId="{78B16911-FF48-A1AE-F408-E392F9BF1735}"/>
          </ac:picMkLst>
        </pc:picChg>
      </pc:sldChg>
      <pc:sldChg chg="addSp delSp modSp add del mod ord modShow">
        <pc:chgData name="Maria Hortense Braz de Matos" userId="5bc5b675-87f3-446e-af61-8743361a8ab5" providerId="ADAL" clId="{4DD53DB0-9DE3-4862-9681-91E06199108A}" dt="2023-12-01T14:37:33.275" v="5839" actId="47"/>
        <pc:sldMkLst>
          <pc:docMk/>
          <pc:sldMk cId="3089084769" sldId="391"/>
        </pc:sldMkLst>
        <pc:grpChg chg="add mod">
          <ac:chgData name="Maria Hortense Braz de Matos" userId="5bc5b675-87f3-446e-af61-8743361a8ab5" providerId="ADAL" clId="{4DD53DB0-9DE3-4862-9681-91E06199108A}" dt="2023-11-13T08:54:31.654" v="635"/>
          <ac:grpSpMkLst>
            <pc:docMk/>
            <pc:sldMk cId="3089084769" sldId="391"/>
            <ac:grpSpMk id="2" creationId="{64139316-DDA3-9A7B-5A59-7B7EFC654E1B}"/>
          </ac:grpSpMkLst>
        </pc:grpChg>
        <pc:grpChg chg="del">
          <ac:chgData name="Maria Hortense Braz de Matos" userId="5bc5b675-87f3-446e-af61-8743361a8ab5" providerId="ADAL" clId="{4DD53DB0-9DE3-4862-9681-91E06199108A}" dt="2023-11-13T08:37:01.600" v="175" actId="478"/>
          <ac:grpSpMkLst>
            <pc:docMk/>
            <pc:sldMk cId="3089084769" sldId="391"/>
            <ac:grpSpMk id="5" creationId="{53BE6C7A-095A-C0C2-6469-87D637A59BF2}"/>
          </ac:grpSpMkLst>
        </pc:grpChg>
        <pc:grpChg chg="add mod">
          <ac:chgData name="Maria Hortense Braz de Matos" userId="5bc5b675-87f3-446e-af61-8743361a8ab5" providerId="ADAL" clId="{4DD53DB0-9DE3-4862-9681-91E06199108A}" dt="2023-11-13T08:54:29.808" v="634"/>
          <ac:grpSpMkLst>
            <pc:docMk/>
            <pc:sldMk cId="3089084769" sldId="391"/>
            <ac:grpSpMk id="11" creationId="{748C3CB0-402D-038F-B53C-AC2B84F93251}"/>
          </ac:grpSpMkLst>
        </pc:grpChg>
        <pc:picChg chg="mod">
          <ac:chgData name="Maria Hortense Braz de Matos" userId="5bc5b675-87f3-446e-af61-8743361a8ab5" providerId="ADAL" clId="{4DD53DB0-9DE3-4862-9681-91E06199108A}" dt="2023-11-13T08:37:12.793" v="178"/>
          <ac:picMkLst>
            <pc:docMk/>
            <pc:sldMk cId="3089084769" sldId="391"/>
            <ac:picMk id="3" creationId="{34909791-2A55-97FC-11E7-614196967FBB}"/>
          </ac:picMkLst>
        </pc:picChg>
        <pc:picChg chg="mod">
          <ac:chgData name="Maria Hortense Braz de Matos" userId="5bc5b675-87f3-446e-af61-8743361a8ab5" providerId="ADAL" clId="{4DD53DB0-9DE3-4862-9681-91E06199108A}" dt="2023-11-13T08:37:12.793" v="178"/>
          <ac:picMkLst>
            <pc:docMk/>
            <pc:sldMk cId="3089084769" sldId="391"/>
            <ac:picMk id="6" creationId="{7F448F72-7F65-C461-E5C0-44C4B02FC0D1}"/>
          </ac:picMkLst>
        </pc:picChg>
        <pc:picChg chg="del">
          <ac:chgData name="Maria Hortense Braz de Matos" userId="5bc5b675-87f3-446e-af61-8743361a8ab5" providerId="ADAL" clId="{4DD53DB0-9DE3-4862-9681-91E06199108A}" dt="2023-11-13T08:37:03.140" v="176" actId="478"/>
          <ac:picMkLst>
            <pc:docMk/>
            <pc:sldMk cId="3089084769" sldId="391"/>
            <ac:picMk id="9" creationId="{20CD3BC0-EBA3-C787-3B0F-E81FCCB5F5AD}"/>
          </ac:picMkLst>
        </pc:picChg>
        <pc:picChg chg="del">
          <ac:chgData name="Maria Hortense Braz de Matos" userId="5bc5b675-87f3-446e-af61-8743361a8ab5" providerId="ADAL" clId="{4DD53DB0-9DE3-4862-9681-91E06199108A}" dt="2023-11-13T08:37:04.146" v="177" actId="478"/>
          <ac:picMkLst>
            <pc:docMk/>
            <pc:sldMk cId="3089084769" sldId="391"/>
            <ac:picMk id="10" creationId="{78B16911-FF48-A1AE-F408-E392F9BF1735}"/>
          </ac:picMkLst>
        </pc:picChg>
        <pc:picChg chg="mod">
          <ac:chgData name="Maria Hortense Braz de Matos" userId="5bc5b675-87f3-446e-af61-8743361a8ab5" providerId="ADAL" clId="{4DD53DB0-9DE3-4862-9681-91E06199108A}" dt="2023-11-13T08:37:12.793" v="178"/>
          <ac:picMkLst>
            <pc:docMk/>
            <pc:sldMk cId="3089084769" sldId="391"/>
            <ac:picMk id="12" creationId="{493B3E08-5983-5869-F307-F56EB593B808}"/>
          </ac:picMkLst>
        </pc:picChg>
        <pc:picChg chg="mod">
          <ac:chgData name="Maria Hortense Braz de Matos" userId="5bc5b675-87f3-446e-af61-8743361a8ab5" providerId="ADAL" clId="{4DD53DB0-9DE3-4862-9681-91E06199108A}" dt="2023-11-13T08:37:12.793" v="178"/>
          <ac:picMkLst>
            <pc:docMk/>
            <pc:sldMk cId="3089084769" sldId="391"/>
            <ac:picMk id="13" creationId="{74DCF1EB-A819-10A1-0564-764E5CB4F758}"/>
          </ac:picMkLst>
        </pc:picChg>
      </pc:sldChg>
      <pc:sldChg chg="addSp delSp modSp add del mod ord modShow">
        <pc:chgData name="Maria Hortense Braz de Matos" userId="5bc5b675-87f3-446e-af61-8743361a8ab5" providerId="ADAL" clId="{4DD53DB0-9DE3-4862-9681-91E06199108A}" dt="2023-12-01T14:37:34.193" v="5840" actId="47"/>
        <pc:sldMkLst>
          <pc:docMk/>
          <pc:sldMk cId="209552966" sldId="392"/>
        </pc:sldMkLst>
        <pc:grpChg chg="del">
          <ac:chgData name="Maria Hortense Braz de Matos" userId="5bc5b675-87f3-446e-af61-8743361a8ab5" providerId="ADAL" clId="{4DD53DB0-9DE3-4862-9681-91E06199108A}" dt="2023-11-13T08:37:20.121" v="181" actId="478"/>
          <ac:grpSpMkLst>
            <pc:docMk/>
            <pc:sldMk cId="209552966" sldId="392"/>
            <ac:grpSpMk id="2" creationId="{64139316-DDA3-9A7B-5A59-7B7EFC654E1B}"/>
          </ac:grpSpMkLst>
        </pc:grpChg>
        <pc:grpChg chg="add mod">
          <ac:chgData name="Maria Hortense Braz de Matos" userId="5bc5b675-87f3-446e-af61-8743361a8ab5" providerId="ADAL" clId="{4DD53DB0-9DE3-4862-9681-91E06199108A}" dt="2023-11-13T08:54:34.683" v="636"/>
          <ac:grpSpMkLst>
            <pc:docMk/>
            <pc:sldMk cId="209552966" sldId="392"/>
            <ac:grpSpMk id="7" creationId="{DD35F1BA-886E-11EA-028A-53AEE3713C07}"/>
          </ac:grpSpMkLst>
        </pc:grpChg>
        <pc:grpChg chg="del">
          <ac:chgData name="Maria Hortense Braz de Matos" userId="5bc5b675-87f3-446e-af61-8743361a8ab5" providerId="ADAL" clId="{4DD53DB0-9DE3-4862-9681-91E06199108A}" dt="2023-11-13T08:37:18.728" v="180" actId="478"/>
          <ac:grpSpMkLst>
            <pc:docMk/>
            <pc:sldMk cId="209552966" sldId="392"/>
            <ac:grpSpMk id="11" creationId="{748C3CB0-402D-038F-B53C-AC2B84F93251}"/>
          </ac:grpSpMkLst>
        </pc:grpChg>
        <pc:picChg chg="add mod">
          <ac:chgData name="Maria Hortense Braz de Matos" userId="5bc5b675-87f3-446e-af61-8743361a8ab5" providerId="ADAL" clId="{4DD53DB0-9DE3-4862-9681-91E06199108A}" dt="2023-11-13T08:54:36.694" v="637"/>
          <ac:picMkLst>
            <pc:docMk/>
            <pc:sldMk cId="209552966" sldId="392"/>
            <ac:picMk id="5" creationId="{28F56A9E-A8FE-3103-A4FE-934BF200F494}"/>
          </ac:picMkLst>
        </pc:picChg>
        <pc:picChg chg="mod">
          <ac:chgData name="Maria Hortense Braz de Matos" userId="5bc5b675-87f3-446e-af61-8743361a8ab5" providerId="ADAL" clId="{4DD53DB0-9DE3-4862-9681-91E06199108A}" dt="2023-11-13T08:37:25.518" v="182"/>
          <ac:picMkLst>
            <pc:docMk/>
            <pc:sldMk cId="209552966" sldId="392"/>
            <ac:picMk id="8" creationId="{5CCD4292-E6F8-2016-105C-81E25CB81A35}"/>
          </ac:picMkLst>
        </pc:picChg>
        <pc:picChg chg="mod">
          <ac:chgData name="Maria Hortense Braz de Matos" userId="5bc5b675-87f3-446e-af61-8743361a8ab5" providerId="ADAL" clId="{4DD53DB0-9DE3-4862-9681-91E06199108A}" dt="2023-11-13T08:37:25.518" v="182"/>
          <ac:picMkLst>
            <pc:docMk/>
            <pc:sldMk cId="209552966" sldId="392"/>
            <ac:picMk id="9" creationId="{BEDECF0B-0A48-1298-FC99-249C7F516E48}"/>
          </ac:picMkLst>
        </pc:picChg>
      </pc:sldChg>
      <pc:sldChg chg="addSp delSp modSp new mod ord modClrScheme modShow chgLayout">
        <pc:chgData name="Maria Hortense Braz de Matos" userId="5bc5b675-87f3-446e-af61-8743361a8ab5" providerId="ADAL" clId="{4DD53DB0-9DE3-4862-9681-91E06199108A}" dt="2023-11-13T08:38:48.334" v="214" actId="729"/>
        <pc:sldMkLst>
          <pc:docMk/>
          <pc:sldMk cId="3033204644" sldId="393"/>
        </pc:sldMkLst>
        <pc:spChg chg="del mod ord">
          <ac:chgData name="Maria Hortense Braz de Matos" userId="5bc5b675-87f3-446e-af61-8743361a8ab5" providerId="ADAL" clId="{4DD53DB0-9DE3-4862-9681-91E06199108A}" dt="2023-11-13T08:38:05.005" v="189" actId="700"/>
          <ac:spMkLst>
            <pc:docMk/>
            <pc:sldMk cId="3033204644" sldId="393"/>
            <ac:spMk id="2" creationId="{F71C5EFB-7467-0D30-E487-36E61FA752D5}"/>
          </ac:spMkLst>
        </pc:spChg>
        <pc:spChg chg="del mod ord">
          <ac:chgData name="Maria Hortense Braz de Matos" userId="5bc5b675-87f3-446e-af61-8743361a8ab5" providerId="ADAL" clId="{4DD53DB0-9DE3-4862-9681-91E06199108A}" dt="2023-11-13T08:38:05.005" v="189" actId="700"/>
          <ac:spMkLst>
            <pc:docMk/>
            <pc:sldMk cId="3033204644" sldId="393"/>
            <ac:spMk id="3" creationId="{568B3544-BBBA-E800-E1A2-28DF6C459ABB}"/>
          </ac:spMkLst>
        </pc:spChg>
        <pc:spChg chg="add mod ord">
          <ac:chgData name="Maria Hortense Braz de Matos" userId="5bc5b675-87f3-446e-af61-8743361a8ab5" providerId="ADAL" clId="{4DD53DB0-9DE3-4862-9681-91E06199108A}" dt="2023-11-13T08:38:09.413" v="203" actId="20577"/>
          <ac:spMkLst>
            <pc:docMk/>
            <pc:sldMk cId="3033204644" sldId="393"/>
            <ac:spMk id="4" creationId="{AC038BE6-CDA8-4ABC-6DF7-8AB354176A2E}"/>
          </ac:spMkLst>
        </pc:spChg>
        <pc:spChg chg="add mod ord">
          <ac:chgData name="Maria Hortense Braz de Matos" userId="5bc5b675-87f3-446e-af61-8743361a8ab5" providerId="ADAL" clId="{4DD53DB0-9DE3-4862-9681-91E06199108A}" dt="2023-11-13T08:38:05.005" v="189" actId="700"/>
          <ac:spMkLst>
            <pc:docMk/>
            <pc:sldMk cId="3033204644" sldId="393"/>
            <ac:spMk id="5" creationId="{3F1010CA-8ED5-6FF4-8234-26AA5C853B9B}"/>
          </ac:spMkLst>
        </pc:spChg>
      </pc:sldChg>
      <pc:sldChg chg="addSp delSp modSp add del mod ord modShow">
        <pc:chgData name="Maria Hortense Braz de Matos" userId="5bc5b675-87f3-446e-af61-8743361a8ab5" providerId="ADAL" clId="{4DD53DB0-9DE3-4862-9681-91E06199108A}" dt="2023-12-01T14:37:35.328" v="5841" actId="47"/>
        <pc:sldMkLst>
          <pc:docMk/>
          <pc:sldMk cId="3622933942" sldId="394"/>
        </pc:sldMkLst>
        <pc:grpChg chg="del">
          <ac:chgData name="Maria Hortense Braz de Matos" userId="5bc5b675-87f3-446e-af61-8743361a8ab5" providerId="ADAL" clId="{4DD53DB0-9DE3-4862-9681-91E06199108A}" dt="2023-11-13T08:38:30.817" v="207" actId="478"/>
          <ac:grpSpMkLst>
            <pc:docMk/>
            <pc:sldMk cId="3622933942" sldId="394"/>
            <ac:grpSpMk id="5" creationId="{53BE6C7A-095A-C0C2-6469-87D637A59BF2}"/>
          </ac:grpSpMkLst>
        </pc:grpChg>
        <pc:picChg chg="add mod">
          <ac:chgData name="Maria Hortense Braz de Matos" userId="5bc5b675-87f3-446e-af61-8743361a8ab5" providerId="ADAL" clId="{4DD53DB0-9DE3-4862-9681-91E06199108A}" dt="2023-11-13T08:38:37.928" v="210"/>
          <ac:picMkLst>
            <pc:docMk/>
            <pc:sldMk cId="3622933942" sldId="394"/>
            <ac:picMk id="2" creationId="{1A594ED6-9655-AF8C-2488-87612545B6CF}"/>
          </ac:picMkLst>
        </pc:picChg>
        <pc:picChg chg="del">
          <ac:chgData name="Maria Hortense Braz de Matos" userId="5bc5b675-87f3-446e-af61-8743361a8ab5" providerId="ADAL" clId="{4DD53DB0-9DE3-4862-9681-91E06199108A}" dt="2023-11-13T08:38:30.817" v="207" actId="478"/>
          <ac:picMkLst>
            <pc:docMk/>
            <pc:sldMk cId="3622933942" sldId="394"/>
            <ac:picMk id="9" creationId="{20CD3BC0-EBA3-C787-3B0F-E81FCCB5F5AD}"/>
          </ac:picMkLst>
        </pc:picChg>
        <pc:picChg chg="del">
          <ac:chgData name="Maria Hortense Braz de Matos" userId="5bc5b675-87f3-446e-af61-8743361a8ab5" providerId="ADAL" clId="{4DD53DB0-9DE3-4862-9681-91E06199108A}" dt="2023-11-13T08:38:32.393" v="208" actId="478"/>
          <ac:picMkLst>
            <pc:docMk/>
            <pc:sldMk cId="3622933942" sldId="394"/>
            <ac:picMk id="10" creationId="{78B16911-FF48-A1AE-F408-E392F9BF1735}"/>
          </ac:picMkLst>
        </pc:picChg>
      </pc:sldChg>
      <pc:sldChg chg="addSp delSp modSp add mod ord modClrScheme modShow chgLayout">
        <pc:chgData name="Maria Hortense Braz de Matos" userId="5bc5b675-87f3-446e-af61-8743361a8ab5" providerId="ADAL" clId="{4DD53DB0-9DE3-4862-9681-91E06199108A}" dt="2023-11-13T08:41:15.069" v="252" actId="403"/>
        <pc:sldMkLst>
          <pc:docMk/>
          <pc:sldMk cId="3613729725" sldId="395"/>
        </pc:sldMkLst>
        <pc:spChg chg="add mod ord">
          <ac:chgData name="Maria Hortense Braz de Matos" userId="5bc5b675-87f3-446e-af61-8743361a8ab5" providerId="ADAL" clId="{4DD53DB0-9DE3-4862-9681-91E06199108A}" dt="2023-11-13T08:41:02.242" v="248" actId="1076"/>
          <ac:spMkLst>
            <pc:docMk/>
            <pc:sldMk cId="3613729725" sldId="395"/>
            <ac:spMk id="2" creationId="{D99A9C8E-9589-E98C-960A-388CEF705B19}"/>
          </ac:spMkLst>
        </pc:spChg>
        <pc:spChg chg="mod ord">
          <ac:chgData name="Maria Hortense Braz de Matos" userId="5bc5b675-87f3-446e-af61-8743361a8ab5" providerId="ADAL" clId="{4DD53DB0-9DE3-4862-9681-91E06199108A}" dt="2023-11-13T08:41:15.069" v="252" actId="403"/>
          <ac:spMkLst>
            <pc:docMk/>
            <pc:sldMk cId="3613729725" sldId="395"/>
            <ac:spMk id="4" creationId="{AC038BE6-CDA8-4ABC-6DF7-8AB354176A2E}"/>
          </ac:spMkLst>
        </pc:spChg>
        <pc:spChg chg="del mod ord">
          <ac:chgData name="Maria Hortense Braz de Matos" userId="5bc5b675-87f3-446e-af61-8743361a8ab5" providerId="ADAL" clId="{4DD53DB0-9DE3-4862-9681-91E06199108A}" dt="2023-11-13T08:39:12.425" v="220" actId="700"/>
          <ac:spMkLst>
            <pc:docMk/>
            <pc:sldMk cId="3613729725" sldId="395"/>
            <ac:spMk id="5" creationId="{3F1010CA-8ED5-6FF4-8234-26AA5C853B9B}"/>
          </ac:spMkLst>
        </pc:spChg>
      </pc:sldChg>
      <pc:sldChg chg="add del">
        <pc:chgData name="Maria Hortense Braz de Matos" userId="5bc5b675-87f3-446e-af61-8743361a8ab5" providerId="ADAL" clId="{4DD53DB0-9DE3-4862-9681-91E06199108A}" dt="2023-11-13T08:54:06.488" v="629" actId="47"/>
        <pc:sldMkLst>
          <pc:docMk/>
          <pc:sldMk cId="449455061" sldId="396"/>
        </pc:sldMkLst>
      </pc:sldChg>
      <pc:sldChg chg="addSp modSp add del mod ord modClrScheme chgLayout">
        <pc:chgData name="Maria Hortense Braz de Matos" userId="5bc5b675-87f3-446e-af61-8743361a8ab5" providerId="ADAL" clId="{4DD53DB0-9DE3-4862-9681-91E06199108A}" dt="2023-12-01T14:37:11.359" v="5837" actId="47"/>
        <pc:sldMkLst>
          <pc:docMk/>
          <pc:sldMk cId="4158764627" sldId="397"/>
        </pc:sldMkLst>
        <pc:spChg chg="add mod ord">
          <ac:chgData name="Maria Hortense Braz de Matos" userId="5bc5b675-87f3-446e-af61-8743361a8ab5" providerId="ADAL" clId="{4DD53DB0-9DE3-4862-9681-91E06199108A}" dt="2023-11-30T19:27:46.651" v="800" actId="700"/>
          <ac:spMkLst>
            <pc:docMk/>
            <pc:sldMk cId="4158764627" sldId="397"/>
            <ac:spMk id="2" creationId="{9B3305F2-A761-C066-1E4A-8C3A39B252A1}"/>
          </ac:spMkLst>
        </pc:spChg>
      </pc:sldChg>
      <pc:sldChg chg="addSp delSp modSp add mod ord modClrScheme delCm chgLayout">
        <pc:chgData name="Maria Hortense Braz de Matos" userId="5bc5b675-87f3-446e-af61-8743361a8ab5" providerId="ADAL" clId="{4DD53DB0-9DE3-4862-9681-91E06199108A}" dt="2023-12-03T17:17:07.891" v="9128"/>
        <pc:sldMkLst>
          <pc:docMk/>
          <pc:sldMk cId="1003143522" sldId="398"/>
        </pc:sldMkLst>
        <pc:spChg chg="mod">
          <ac:chgData name="Maria Hortense Braz de Matos" userId="5bc5b675-87f3-446e-af61-8743361a8ab5" providerId="ADAL" clId="{4DD53DB0-9DE3-4862-9681-91E06199108A}" dt="2023-11-13T08:49:55.795" v="594" actId="207"/>
          <ac:spMkLst>
            <pc:docMk/>
            <pc:sldMk cId="1003143522" sldId="398"/>
            <ac:spMk id="3" creationId="{5546F4E6-8DC5-1A81-2628-26990ECC3B32}"/>
          </ac:spMkLst>
        </pc:spChg>
        <pc:spChg chg="mod">
          <ac:chgData name="Maria Hortense Braz de Matos" userId="5bc5b675-87f3-446e-af61-8743361a8ab5" providerId="ADAL" clId="{4DD53DB0-9DE3-4862-9681-91E06199108A}" dt="2023-11-13T08:50:16.342" v="595" actId="207"/>
          <ac:spMkLst>
            <pc:docMk/>
            <pc:sldMk cId="1003143522" sldId="398"/>
            <ac:spMk id="4" creationId="{DD68A98E-A2B6-F0B8-6AA0-4A06453DDEB1}"/>
          </ac:spMkLst>
        </pc:spChg>
        <pc:spChg chg="add del mod ord">
          <ac:chgData name="Maria Hortense Braz de Matos" userId="5bc5b675-87f3-446e-af61-8743361a8ab5" providerId="ADAL" clId="{4DD53DB0-9DE3-4862-9681-91E06199108A}" dt="2023-12-02T15:27:30.289" v="8253" actId="478"/>
          <ac:spMkLst>
            <pc:docMk/>
            <pc:sldMk cId="1003143522" sldId="398"/>
            <ac:spMk id="5" creationId="{29510143-658F-7B9C-024A-7527167173F0}"/>
          </ac:spMkLst>
        </pc:spChg>
        <pc:spChg chg="mod">
          <ac:chgData name="Maria Hortense Braz de Matos" userId="5bc5b675-87f3-446e-af61-8743361a8ab5" providerId="ADAL" clId="{4DD53DB0-9DE3-4862-9681-91E06199108A}" dt="2023-11-13T08:49:51.080" v="593" actId="207"/>
          <ac:spMkLst>
            <pc:docMk/>
            <pc:sldMk cId="1003143522" sldId="398"/>
            <ac:spMk id="10" creationId="{080201A8-8130-9940-0CF2-C0372A44A88D}"/>
          </ac:spMkLst>
        </pc:spChg>
        <pc:spChg chg="mod">
          <ac:chgData name="Maria Hortense Braz de Matos" userId="5bc5b675-87f3-446e-af61-8743361a8ab5" providerId="ADAL" clId="{4DD53DB0-9DE3-4862-9681-91E06199108A}" dt="2023-12-02T15:27:27.060" v="8252"/>
          <ac:spMkLst>
            <pc:docMk/>
            <pc:sldMk cId="1003143522" sldId="398"/>
            <ac:spMk id="16" creationId="{DF29E7B4-6607-540B-2D74-612452C5FB5A}"/>
          </ac:spMkLst>
        </pc:spChg>
        <pc:graphicFrameChg chg="mod modGraphic">
          <ac:chgData name="Maria Hortense Braz de Matos" userId="5bc5b675-87f3-446e-af61-8743361a8ab5" providerId="ADAL" clId="{4DD53DB0-9DE3-4862-9681-91E06199108A}" dt="2023-12-01T12:50:58.493" v="3900" actId="20577"/>
          <ac:graphicFrameMkLst>
            <pc:docMk/>
            <pc:sldMk cId="1003143522" sldId="398"/>
            <ac:graphicFrameMk id="2" creationId="{05540156-63B3-F0B3-69B0-850741C21F54}"/>
          </ac:graphicFrameMkLst>
        </pc:graphicFrameChg>
      </pc:sldChg>
      <pc:sldChg chg="addSp delSp modSp add mod ord modClrScheme delCm chgLayout">
        <pc:chgData name="Maria Hortense Braz de Matos" userId="5bc5b675-87f3-446e-af61-8743361a8ab5" providerId="ADAL" clId="{4DD53DB0-9DE3-4862-9681-91E06199108A}" dt="2023-12-03T17:17:27.348" v="9131"/>
        <pc:sldMkLst>
          <pc:docMk/>
          <pc:sldMk cId="4081114775" sldId="399"/>
        </pc:sldMkLst>
        <pc:spChg chg="mod">
          <ac:chgData name="Maria Hortense Braz de Matos" userId="5bc5b675-87f3-446e-af61-8743361a8ab5" providerId="ADAL" clId="{4DD53DB0-9DE3-4862-9681-91E06199108A}" dt="2023-11-13T08:50:58.048" v="602" actId="108"/>
          <ac:spMkLst>
            <pc:docMk/>
            <pc:sldMk cId="4081114775" sldId="399"/>
            <ac:spMk id="3" creationId="{5546F4E6-8DC5-1A81-2628-26990ECC3B32}"/>
          </ac:spMkLst>
        </pc:spChg>
        <pc:spChg chg="add del mod ord">
          <ac:chgData name="Maria Hortense Braz de Matos" userId="5bc5b675-87f3-446e-af61-8743361a8ab5" providerId="ADAL" clId="{4DD53DB0-9DE3-4862-9681-91E06199108A}" dt="2023-12-01T14:41:16.429" v="5929" actId="478"/>
          <ac:spMkLst>
            <pc:docMk/>
            <pc:sldMk cId="4081114775" sldId="399"/>
            <ac:spMk id="5" creationId="{BD128012-B1C1-2C29-884A-98BDECD4DF1B}"/>
          </ac:spMkLst>
        </pc:spChg>
        <pc:spChg chg="mod">
          <ac:chgData name="Maria Hortense Braz de Matos" userId="5bc5b675-87f3-446e-af61-8743361a8ab5" providerId="ADAL" clId="{4DD53DB0-9DE3-4862-9681-91E06199108A}" dt="2023-11-13T08:51:04.859" v="603" actId="207"/>
          <ac:spMkLst>
            <pc:docMk/>
            <pc:sldMk cId="4081114775" sldId="399"/>
            <ac:spMk id="11" creationId="{ED751B13-18AC-48F0-FFEE-047FE223283B}"/>
          </ac:spMkLst>
        </pc:spChg>
        <pc:spChg chg="mod">
          <ac:chgData name="Maria Hortense Braz de Matos" userId="5bc5b675-87f3-446e-af61-8743361a8ab5" providerId="ADAL" clId="{4DD53DB0-9DE3-4862-9681-91E06199108A}" dt="2023-12-02T15:27:34.992" v="8254"/>
          <ac:spMkLst>
            <pc:docMk/>
            <pc:sldMk cId="4081114775" sldId="399"/>
            <ac:spMk id="16" creationId="{DF29E7B4-6607-540B-2D74-612452C5FB5A}"/>
          </ac:spMkLst>
        </pc:spChg>
        <pc:graphicFrameChg chg="mod modGraphic">
          <ac:chgData name="Maria Hortense Braz de Matos" userId="5bc5b675-87f3-446e-af61-8743361a8ab5" providerId="ADAL" clId="{4DD53DB0-9DE3-4862-9681-91E06199108A}" dt="2023-12-01T13:17:39.167" v="3910" actId="20577"/>
          <ac:graphicFrameMkLst>
            <pc:docMk/>
            <pc:sldMk cId="4081114775" sldId="399"/>
            <ac:graphicFrameMk id="2" creationId="{05540156-63B3-F0B3-69B0-850741C21F54}"/>
          </ac:graphicFrameMkLst>
        </pc:graphicFrameChg>
      </pc:sldChg>
      <pc:sldChg chg="addSp delSp modSp add mod ord modClrScheme chgLayout">
        <pc:chgData name="Maria Hortense Braz de Matos" userId="5bc5b675-87f3-446e-af61-8743361a8ab5" providerId="ADAL" clId="{4DD53DB0-9DE3-4862-9681-91E06199108A}" dt="2023-12-02T15:27:43.321" v="8256"/>
        <pc:sldMkLst>
          <pc:docMk/>
          <pc:sldMk cId="612588230" sldId="400"/>
        </pc:sldMkLst>
        <pc:spChg chg="mod">
          <ac:chgData name="Maria Hortense Braz de Matos" userId="5bc5b675-87f3-446e-af61-8743361a8ab5" providerId="ADAL" clId="{4DD53DB0-9DE3-4862-9681-91E06199108A}" dt="2023-11-13T08:52:05.708" v="615" actId="207"/>
          <ac:spMkLst>
            <pc:docMk/>
            <pc:sldMk cId="612588230" sldId="400"/>
            <ac:spMk id="3" creationId="{5546F4E6-8DC5-1A81-2628-26990ECC3B32}"/>
          </ac:spMkLst>
        </pc:spChg>
        <pc:spChg chg="mod">
          <ac:chgData name="Maria Hortense Braz de Matos" userId="5bc5b675-87f3-446e-af61-8743361a8ab5" providerId="ADAL" clId="{4DD53DB0-9DE3-4862-9681-91E06199108A}" dt="2023-11-13T08:51:57.903" v="614" actId="108"/>
          <ac:spMkLst>
            <pc:docMk/>
            <pc:sldMk cId="612588230" sldId="400"/>
            <ac:spMk id="4" creationId="{DD68A98E-A2B6-F0B8-6AA0-4A06453DDEB1}"/>
          </ac:spMkLst>
        </pc:spChg>
        <pc:spChg chg="add del mod ord">
          <ac:chgData name="Maria Hortense Braz de Matos" userId="5bc5b675-87f3-446e-af61-8743361a8ab5" providerId="ADAL" clId="{4DD53DB0-9DE3-4862-9681-91E06199108A}" dt="2023-12-02T15:27:41.228" v="8255" actId="478"/>
          <ac:spMkLst>
            <pc:docMk/>
            <pc:sldMk cId="612588230" sldId="400"/>
            <ac:spMk id="5" creationId="{5C00C73D-5CF9-44BA-262E-302B767D0787}"/>
          </ac:spMkLst>
        </pc:spChg>
        <pc:spChg chg="mod">
          <ac:chgData name="Maria Hortense Braz de Matos" userId="5bc5b675-87f3-446e-af61-8743361a8ab5" providerId="ADAL" clId="{4DD53DB0-9DE3-4862-9681-91E06199108A}" dt="2023-12-02T15:27:43.321" v="8256"/>
          <ac:spMkLst>
            <pc:docMk/>
            <pc:sldMk cId="612588230" sldId="400"/>
            <ac:spMk id="16" creationId="{DF29E7B4-6607-540B-2D74-612452C5FB5A}"/>
          </ac:spMkLst>
        </pc:spChg>
        <pc:graphicFrameChg chg="mod modGraphic">
          <ac:chgData name="Maria Hortense Braz de Matos" userId="5bc5b675-87f3-446e-af61-8743361a8ab5" providerId="ADAL" clId="{4DD53DB0-9DE3-4862-9681-91E06199108A}" dt="2023-12-01T13:18:34.867" v="3957" actId="20577"/>
          <ac:graphicFrameMkLst>
            <pc:docMk/>
            <pc:sldMk cId="612588230" sldId="400"/>
            <ac:graphicFrameMk id="2" creationId="{05540156-63B3-F0B3-69B0-850741C21F54}"/>
          </ac:graphicFrameMkLst>
        </pc:graphicFrameChg>
      </pc:sldChg>
      <pc:sldChg chg="addSp delSp modSp add mod modClrScheme chgLayout">
        <pc:chgData name="Maria Hortense Braz de Matos" userId="5bc5b675-87f3-446e-af61-8743361a8ab5" providerId="ADAL" clId="{4DD53DB0-9DE3-4862-9681-91E06199108A}" dt="2023-12-11T22:45:08.272" v="9456" actId="20577"/>
        <pc:sldMkLst>
          <pc:docMk/>
          <pc:sldMk cId="780382281" sldId="401"/>
        </pc:sldMkLst>
        <pc:spChg chg="add mod">
          <ac:chgData name="Maria Hortense Braz de Matos" userId="5bc5b675-87f3-446e-af61-8743361a8ab5" providerId="ADAL" clId="{4DD53DB0-9DE3-4862-9681-91E06199108A}" dt="2023-12-02T15:49:15.611" v="8306" actId="208"/>
          <ac:spMkLst>
            <pc:docMk/>
            <pc:sldMk cId="780382281" sldId="401"/>
            <ac:spMk id="2" creationId="{01B11BF6-FA69-E1D7-6507-5422CB813790}"/>
          </ac:spMkLst>
        </pc:spChg>
        <pc:spChg chg="add del mod">
          <ac:chgData name="Maria Hortense Braz de Matos" userId="5bc5b675-87f3-446e-af61-8743361a8ab5" providerId="ADAL" clId="{4DD53DB0-9DE3-4862-9681-91E06199108A}" dt="2023-12-02T15:45:41.258" v="8285" actId="478"/>
          <ac:spMkLst>
            <pc:docMk/>
            <pc:sldMk cId="780382281" sldId="401"/>
            <ac:spMk id="3" creationId="{2D5CD7EE-0FBC-D518-6AB4-458820B0885F}"/>
          </ac:spMkLst>
        </pc:spChg>
        <pc:spChg chg="del mod">
          <ac:chgData name="Maria Hortense Braz de Matos" userId="5bc5b675-87f3-446e-af61-8743361a8ab5" providerId="ADAL" clId="{4DD53DB0-9DE3-4862-9681-91E06199108A}" dt="2023-12-01T10:20:03.711" v="1639" actId="478"/>
          <ac:spMkLst>
            <pc:docMk/>
            <pc:sldMk cId="780382281" sldId="401"/>
            <ac:spMk id="3" creationId="{5546F4E6-8DC5-1A81-2628-26990ECC3B32}"/>
          </ac:spMkLst>
        </pc:spChg>
        <pc:spChg chg="add del mod">
          <ac:chgData name="Maria Hortense Braz de Matos" userId="5bc5b675-87f3-446e-af61-8743361a8ab5" providerId="ADAL" clId="{4DD53DB0-9DE3-4862-9681-91E06199108A}" dt="2023-12-02T15:46:56.552" v="8293" actId="478"/>
          <ac:spMkLst>
            <pc:docMk/>
            <pc:sldMk cId="780382281" sldId="401"/>
            <ac:spMk id="4" creationId="{01F47DFF-4AFA-B178-8736-34DF1EE72E3B}"/>
          </ac:spMkLst>
        </pc:spChg>
        <pc:spChg chg="del mod">
          <ac:chgData name="Maria Hortense Braz de Matos" userId="5bc5b675-87f3-446e-af61-8743361a8ab5" providerId="ADAL" clId="{4DD53DB0-9DE3-4862-9681-91E06199108A}" dt="2023-12-01T10:20:03.711" v="1639" actId="478"/>
          <ac:spMkLst>
            <pc:docMk/>
            <pc:sldMk cId="780382281" sldId="401"/>
            <ac:spMk id="4" creationId="{DD68A98E-A2B6-F0B8-6AA0-4A06453DDEB1}"/>
          </ac:spMkLst>
        </pc:spChg>
        <pc:spChg chg="add del mod ord">
          <ac:chgData name="Maria Hortense Braz de Matos" userId="5bc5b675-87f3-446e-af61-8743361a8ab5" providerId="ADAL" clId="{4DD53DB0-9DE3-4862-9681-91E06199108A}" dt="2023-12-01T10:19:18.921" v="1624" actId="478"/>
          <ac:spMkLst>
            <pc:docMk/>
            <pc:sldMk cId="780382281" sldId="401"/>
            <ac:spMk id="5" creationId="{BF66947B-671F-0FCC-E320-E72BD7BDB92C}"/>
          </ac:spMkLst>
        </pc:spChg>
        <pc:spChg chg="add mod">
          <ac:chgData name="Maria Hortense Braz de Matos" userId="5bc5b675-87f3-446e-af61-8743361a8ab5" providerId="ADAL" clId="{4DD53DB0-9DE3-4862-9681-91E06199108A}" dt="2023-12-01T10:57:46.116" v="2585" actId="20577"/>
          <ac:spMkLst>
            <pc:docMk/>
            <pc:sldMk cId="780382281" sldId="401"/>
            <ac:spMk id="6" creationId="{30C7E2AE-AEA0-D6E9-7253-4F9C0CE33169}"/>
          </ac:spMkLst>
        </pc:spChg>
        <pc:spChg chg="add mod">
          <ac:chgData name="Maria Hortense Braz de Matos" userId="5bc5b675-87f3-446e-af61-8743361a8ab5" providerId="ADAL" clId="{4DD53DB0-9DE3-4862-9681-91E06199108A}" dt="2023-12-01T10:49:46.090" v="2023" actId="1035"/>
          <ac:spMkLst>
            <pc:docMk/>
            <pc:sldMk cId="780382281" sldId="401"/>
            <ac:spMk id="9" creationId="{8DF37918-8726-3BD6-6B77-4AA2E48440FA}"/>
          </ac:spMkLst>
        </pc:spChg>
        <pc:spChg chg="del">
          <ac:chgData name="Maria Hortense Braz de Matos" userId="5bc5b675-87f3-446e-af61-8743361a8ab5" providerId="ADAL" clId="{4DD53DB0-9DE3-4862-9681-91E06199108A}" dt="2023-12-01T10:20:03.711" v="1639" actId="478"/>
          <ac:spMkLst>
            <pc:docMk/>
            <pc:sldMk cId="780382281" sldId="401"/>
            <ac:spMk id="10" creationId="{080201A8-8130-9940-0CF2-C0372A44A88D}"/>
          </ac:spMkLst>
        </pc:spChg>
        <pc:spChg chg="del mod">
          <ac:chgData name="Maria Hortense Braz de Matos" userId="5bc5b675-87f3-446e-af61-8743361a8ab5" providerId="ADAL" clId="{4DD53DB0-9DE3-4862-9681-91E06199108A}" dt="2023-12-01T10:20:03.711" v="1639" actId="478"/>
          <ac:spMkLst>
            <pc:docMk/>
            <pc:sldMk cId="780382281" sldId="401"/>
            <ac:spMk id="11" creationId="{ED751B13-18AC-48F0-FFEE-047FE223283B}"/>
          </ac:spMkLst>
        </pc:spChg>
        <pc:spChg chg="add mod">
          <ac:chgData name="Maria Hortense Braz de Matos" userId="5bc5b675-87f3-446e-af61-8743361a8ab5" providerId="ADAL" clId="{4DD53DB0-9DE3-4862-9681-91E06199108A}" dt="2023-12-01T10:49:46.090" v="2023" actId="1035"/>
          <ac:spMkLst>
            <pc:docMk/>
            <pc:sldMk cId="780382281" sldId="401"/>
            <ac:spMk id="12" creationId="{76BAA5AB-6950-11A1-9D39-C37F1320911B}"/>
          </ac:spMkLst>
        </pc:spChg>
        <pc:spChg chg="mod">
          <ac:chgData name="Maria Hortense Braz de Matos" userId="5bc5b675-87f3-446e-af61-8743361a8ab5" providerId="ADAL" clId="{4DD53DB0-9DE3-4862-9681-91E06199108A}" dt="2023-12-01T10:59:05.159" v="2614" actId="20577"/>
          <ac:spMkLst>
            <pc:docMk/>
            <pc:sldMk cId="780382281" sldId="401"/>
            <ac:spMk id="16" creationId="{DF29E7B4-6607-540B-2D74-612452C5FB5A}"/>
          </ac:spMkLst>
        </pc:spChg>
        <pc:spChg chg="add mod ord">
          <ac:chgData name="Maria Hortense Braz de Matos" userId="5bc5b675-87f3-446e-af61-8743361a8ab5" providerId="ADAL" clId="{4DD53DB0-9DE3-4862-9681-91E06199108A}" dt="2023-12-02T15:45:54.808" v="8288" actId="14100"/>
          <ac:spMkLst>
            <pc:docMk/>
            <pc:sldMk cId="780382281" sldId="401"/>
            <ac:spMk id="25" creationId="{C3A2D063-11E1-A5A1-DDA0-42EBE6078EAE}"/>
          </ac:spMkLst>
        </pc:spChg>
        <pc:spChg chg="add del mod">
          <ac:chgData name="Maria Hortense Braz de Matos" userId="5bc5b675-87f3-446e-af61-8743361a8ab5" providerId="ADAL" clId="{4DD53DB0-9DE3-4862-9681-91E06199108A}" dt="2023-12-01T10:43:43.350" v="1854" actId="478"/>
          <ac:spMkLst>
            <pc:docMk/>
            <pc:sldMk cId="780382281" sldId="401"/>
            <ac:spMk id="28" creationId="{A0381754-B4D4-D49F-CA35-C95E1641B2D5}"/>
          </ac:spMkLst>
        </pc:spChg>
        <pc:spChg chg="add del mod">
          <ac:chgData name="Maria Hortense Braz de Matos" userId="5bc5b675-87f3-446e-af61-8743361a8ab5" providerId="ADAL" clId="{4DD53DB0-9DE3-4862-9681-91E06199108A}" dt="2023-12-01T10:43:43.350" v="1854" actId="478"/>
          <ac:spMkLst>
            <pc:docMk/>
            <pc:sldMk cId="780382281" sldId="401"/>
            <ac:spMk id="29" creationId="{B6DE3115-9F1C-5ACC-414A-7E1889D41092}"/>
          </ac:spMkLst>
        </pc:spChg>
        <pc:spChg chg="add del mod">
          <ac:chgData name="Maria Hortense Braz de Matos" userId="5bc5b675-87f3-446e-af61-8743361a8ab5" providerId="ADAL" clId="{4DD53DB0-9DE3-4862-9681-91E06199108A}" dt="2023-12-01T10:43:43.350" v="1854" actId="478"/>
          <ac:spMkLst>
            <pc:docMk/>
            <pc:sldMk cId="780382281" sldId="401"/>
            <ac:spMk id="30" creationId="{0E9466C1-A025-BB84-7DC3-A6D528E6B55A}"/>
          </ac:spMkLst>
        </pc:spChg>
        <pc:spChg chg="add del mod">
          <ac:chgData name="Maria Hortense Braz de Matos" userId="5bc5b675-87f3-446e-af61-8743361a8ab5" providerId="ADAL" clId="{4DD53DB0-9DE3-4862-9681-91E06199108A}" dt="2023-12-01T10:45:54.874" v="1875" actId="478"/>
          <ac:spMkLst>
            <pc:docMk/>
            <pc:sldMk cId="780382281" sldId="401"/>
            <ac:spMk id="3073" creationId="{F0A93A80-F03C-A372-AF1C-B4E592DCF0D0}"/>
          </ac:spMkLst>
        </pc:spChg>
        <pc:spChg chg="add del mod">
          <ac:chgData name="Maria Hortense Braz de Matos" userId="5bc5b675-87f3-446e-af61-8743361a8ab5" providerId="ADAL" clId="{4DD53DB0-9DE3-4862-9681-91E06199108A}" dt="2023-12-01T10:45:54.874" v="1875" actId="478"/>
          <ac:spMkLst>
            <pc:docMk/>
            <pc:sldMk cId="780382281" sldId="401"/>
            <ac:spMk id="3075" creationId="{A5D8DC65-BED6-2044-757F-EE28684235B9}"/>
          </ac:spMkLst>
        </pc:spChg>
        <pc:spChg chg="add del mod">
          <ac:chgData name="Maria Hortense Braz de Matos" userId="5bc5b675-87f3-446e-af61-8743361a8ab5" providerId="ADAL" clId="{4DD53DB0-9DE3-4862-9681-91E06199108A}" dt="2023-12-01T10:45:54.874" v="1875" actId="478"/>
          <ac:spMkLst>
            <pc:docMk/>
            <pc:sldMk cId="780382281" sldId="401"/>
            <ac:spMk id="3077" creationId="{67962A9B-8C8B-07CD-DCE5-37EE01458199}"/>
          </ac:spMkLst>
        </pc:spChg>
        <pc:spChg chg="add mod">
          <ac:chgData name="Maria Hortense Braz de Matos" userId="5bc5b675-87f3-446e-af61-8743361a8ab5" providerId="ADAL" clId="{4DD53DB0-9DE3-4862-9681-91E06199108A}" dt="2023-12-02T15:48:09.877" v="8305" actId="14100"/>
          <ac:spMkLst>
            <pc:docMk/>
            <pc:sldMk cId="780382281" sldId="401"/>
            <ac:spMk id="3081" creationId="{71BB6D61-E2F2-07AA-6C37-F01F91BCF823}"/>
          </ac:spMkLst>
        </pc:spChg>
        <pc:spChg chg="add del">
          <ac:chgData name="Maria Hortense Braz de Matos" userId="5bc5b675-87f3-446e-af61-8743361a8ab5" providerId="ADAL" clId="{4DD53DB0-9DE3-4862-9681-91E06199108A}" dt="2023-12-01T10:51:47.841" v="2216" actId="22"/>
          <ac:spMkLst>
            <pc:docMk/>
            <pc:sldMk cId="780382281" sldId="401"/>
            <ac:spMk id="3083" creationId="{FA1EE1A0-E44B-A578-4F6A-AFE637DA902E}"/>
          </ac:spMkLst>
        </pc:spChg>
        <pc:spChg chg="add mod">
          <ac:chgData name="Maria Hortense Braz de Matos" userId="5bc5b675-87f3-446e-af61-8743361a8ab5" providerId="ADAL" clId="{4DD53DB0-9DE3-4862-9681-91E06199108A}" dt="2023-12-02T15:47:59.812" v="8302" actId="1076"/>
          <ac:spMkLst>
            <pc:docMk/>
            <pc:sldMk cId="780382281" sldId="401"/>
            <ac:spMk id="3084" creationId="{CB1E09F1-534F-C4E9-A3AC-8B37414661CC}"/>
          </ac:spMkLst>
        </pc:spChg>
        <pc:spChg chg="add mod">
          <ac:chgData name="Maria Hortense Braz de Matos" userId="5bc5b675-87f3-446e-af61-8743361a8ab5" providerId="ADAL" clId="{4DD53DB0-9DE3-4862-9681-91E06199108A}" dt="2023-12-11T22:45:08.272" v="9456" actId="20577"/>
          <ac:spMkLst>
            <pc:docMk/>
            <pc:sldMk cId="780382281" sldId="401"/>
            <ac:spMk id="3085" creationId="{B8581D9E-09C7-82B1-4977-59BFAAFED35D}"/>
          </ac:spMkLst>
        </pc:spChg>
        <pc:graphicFrameChg chg="del mod modGraphic">
          <ac:chgData name="Maria Hortense Braz de Matos" userId="5bc5b675-87f3-446e-af61-8743361a8ab5" providerId="ADAL" clId="{4DD53DB0-9DE3-4862-9681-91E06199108A}" dt="2023-12-01T10:20:03.711" v="1639" actId="478"/>
          <ac:graphicFrameMkLst>
            <pc:docMk/>
            <pc:sldMk cId="780382281" sldId="401"/>
            <ac:graphicFrameMk id="2" creationId="{05540156-63B3-F0B3-69B0-850741C21F54}"/>
          </ac:graphicFrameMkLst>
        </pc:graphicFrameChg>
        <pc:graphicFrameChg chg="add del mod modGraphic">
          <ac:chgData name="Maria Hortense Braz de Matos" userId="5bc5b675-87f3-446e-af61-8743361a8ab5" providerId="ADAL" clId="{4DD53DB0-9DE3-4862-9681-91E06199108A}" dt="2023-12-01T10:32:30.874" v="1717" actId="478"/>
          <ac:graphicFrameMkLst>
            <pc:docMk/>
            <pc:sldMk cId="780382281" sldId="401"/>
            <ac:graphicFrameMk id="24" creationId="{FFFB69D6-173B-1194-2E1F-07E41D476ABE}"/>
          </ac:graphicFrameMkLst>
        </pc:graphicFrameChg>
        <pc:graphicFrameChg chg="add mod modGraphic">
          <ac:chgData name="Maria Hortense Braz de Matos" userId="5bc5b675-87f3-446e-af61-8743361a8ab5" providerId="ADAL" clId="{4DD53DB0-9DE3-4862-9681-91E06199108A}" dt="2023-12-02T15:47:53.697" v="8301" actId="404"/>
          <ac:graphicFrameMkLst>
            <pc:docMk/>
            <pc:sldMk cId="780382281" sldId="401"/>
            <ac:graphicFrameMk id="26" creationId="{0F8CC64E-C4C5-E669-8827-6526EF1EC332}"/>
          </ac:graphicFrameMkLst>
        </pc:graphicFrameChg>
        <pc:graphicFrameChg chg="add mod">
          <ac:chgData name="Maria Hortense Braz de Matos" userId="5bc5b675-87f3-446e-af61-8743361a8ab5" providerId="ADAL" clId="{4DD53DB0-9DE3-4862-9681-91E06199108A}" dt="2023-12-02T15:46:44.081" v="8291"/>
          <ac:graphicFrameMkLst>
            <pc:docMk/>
            <pc:sldMk cId="780382281" sldId="401"/>
            <ac:graphicFrameMk id="27" creationId="{CFD9DF28-3750-4A2D-2F81-477161B50BAF}"/>
          </ac:graphicFrameMkLst>
        </pc:graphicFrameChg>
        <pc:picChg chg="add del mod modCrop">
          <ac:chgData name="Maria Hortense Braz de Matos" userId="5bc5b675-87f3-446e-af61-8743361a8ab5" providerId="ADAL" clId="{4DD53DB0-9DE3-4862-9681-91E06199108A}" dt="2023-12-01T10:26:42.841" v="1697" actId="478"/>
          <ac:picMkLst>
            <pc:docMk/>
            <pc:sldMk cId="780382281" sldId="401"/>
            <ac:picMk id="8" creationId="{5D7057D9-5DFA-090B-209A-2EBC5018279C}"/>
          </ac:picMkLst>
        </pc:picChg>
        <pc:picChg chg="add del mod">
          <ac:chgData name="Maria Hortense Braz de Matos" userId="5bc5b675-87f3-446e-af61-8743361a8ab5" providerId="ADAL" clId="{4DD53DB0-9DE3-4862-9681-91E06199108A}" dt="2023-12-01T10:43:26.049" v="1850" actId="478"/>
          <ac:picMkLst>
            <pc:docMk/>
            <pc:sldMk cId="780382281" sldId="401"/>
            <ac:picMk id="13" creationId="{E4F929AE-425B-2795-81FC-1A04B943E78C}"/>
          </ac:picMkLst>
        </pc:picChg>
        <pc:picChg chg="add del mod">
          <ac:chgData name="Maria Hortense Braz de Matos" userId="5bc5b675-87f3-446e-af61-8743361a8ab5" providerId="ADAL" clId="{4DD53DB0-9DE3-4862-9681-91E06199108A}" dt="2023-12-01T10:43:26.049" v="1850" actId="478"/>
          <ac:picMkLst>
            <pc:docMk/>
            <pc:sldMk cId="780382281" sldId="401"/>
            <ac:picMk id="14" creationId="{18230DA2-BEDD-E2F3-01A6-745CF80E2C3F}"/>
          </ac:picMkLst>
        </pc:picChg>
        <pc:picChg chg="add del mod">
          <ac:chgData name="Maria Hortense Braz de Matos" userId="5bc5b675-87f3-446e-af61-8743361a8ab5" providerId="ADAL" clId="{4DD53DB0-9DE3-4862-9681-91E06199108A}" dt="2023-12-01T10:43:26.049" v="1850" actId="478"/>
          <ac:picMkLst>
            <pc:docMk/>
            <pc:sldMk cId="780382281" sldId="401"/>
            <ac:picMk id="15" creationId="{4F792F42-D759-9B01-5173-61C55448A023}"/>
          </ac:picMkLst>
        </pc:picChg>
        <pc:picChg chg="add del mod">
          <ac:chgData name="Maria Hortense Braz de Matos" userId="5bc5b675-87f3-446e-af61-8743361a8ab5" providerId="ADAL" clId="{4DD53DB0-9DE3-4862-9681-91E06199108A}" dt="2023-12-01T10:43:26.049" v="1850" actId="478"/>
          <ac:picMkLst>
            <pc:docMk/>
            <pc:sldMk cId="780382281" sldId="401"/>
            <ac:picMk id="17" creationId="{78531006-EC3A-1CEB-542A-5A2881316B80}"/>
          </ac:picMkLst>
        </pc:picChg>
        <pc:picChg chg="add del mod">
          <ac:chgData name="Maria Hortense Braz de Matos" userId="5bc5b675-87f3-446e-af61-8743361a8ab5" providerId="ADAL" clId="{4DD53DB0-9DE3-4862-9681-91E06199108A}" dt="2023-12-01T10:43:26.049" v="1850" actId="478"/>
          <ac:picMkLst>
            <pc:docMk/>
            <pc:sldMk cId="780382281" sldId="401"/>
            <ac:picMk id="18" creationId="{96DF7435-1022-377D-5B24-5F611A941F8A}"/>
          </ac:picMkLst>
        </pc:picChg>
        <pc:picChg chg="add mod">
          <ac:chgData name="Maria Hortense Braz de Matos" userId="5bc5b675-87f3-446e-af61-8743361a8ab5" providerId="ADAL" clId="{4DD53DB0-9DE3-4862-9681-91E06199108A}" dt="2023-12-01T10:49:46.090" v="2023" actId="1035"/>
          <ac:picMkLst>
            <pc:docMk/>
            <pc:sldMk cId="780382281" sldId="401"/>
            <ac:picMk id="19" creationId="{965F84CA-7EA8-7B3A-7A06-B3A34FCE8B4D}"/>
          </ac:picMkLst>
        </pc:picChg>
        <pc:picChg chg="add del mod">
          <ac:chgData name="Maria Hortense Braz de Matos" userId="5bc5b675-87f3-446e-af61-8743361a8ab5" providerId="ADAL" clId="{4DD53DB0-9DE3-4862-9681-91E06199108A}" dt="2023-12-01T10:43:26.049" v="1850" actId="478"/>
          <ac:picMkLst>
            <pc:docMk/>
            <pc:sldMk cId="780382281" sldId="401"/>
            <ac:picMk id="20" creationId="{E53F09A3-8CD7-2AA7-A958-11BEAE18B697}"/>
          </ac:picMkLst>
        </pc:picChg>
        <pc:picChg chg="add del mod">
          <ac:chgData name="Maria Hortense Braz de Matos" userId="5bc5b675-87f3-446e-af61-8743361a8ab5" providerId="ADAL" clId="{4DD53DB0-9DE3-4862-9681-91E06199108A}" dt="2023-12-01T10:43:26.049" v="1850" actId="478"/>
          <ac:picMkLst>
            <pc:docMk/>
            <pc:sldMk cId="780382281" sldId="401"/>
            <ac:picMk id="21" creationId="{E1330EA1-039B-6899-FFC6-8430BB15E9B7}"/>
          </ac:picMkLst>
        </pc:picChg>
        <pc:picChg chg="add mod">
          <ac:chgData name="Maria Hortense Braz de Matos" userId="5bc5b675-87f3-446e-af61-8743361a8ab5" providerId="ADAL" clId="{4DD53DB0-9DE3-4862-9681-91E06199108A}" dt="2023-12-01T10:49:46.090" v="2023" actId="1035"/>
          <ac:picMkLst>
            <pc:docMk/>
            <pc:sldMk cId="780382281" sldId="401"/>
            <ac:picMk id="22" creationId="{B2778033-D633-FA57-4A52-B600FC15AA5F}"/>
          </ac:picMkLst>
        </pc:picChg>
        <pc:picChg chg="add del mod">
          <ac:chgData name="Maria Hortense Braz de Matos" userId="5bc5b675-87f3-446e-af61-8743361a8ab5" providerId="ADAL" clId="{4DD53DB0-9DE3-4862-9681-91E06199108A}" dt="2023-12-01T10:29:21.981" v="1704" actId="478"/>
          <ac:picMkLst>
            <pc:docMk/>
            <pc:sldMk cId="780382281" sldId="401"/>
            <ac:picMk id="23" creationId="{076BAD69-DA0D-0FB5-C3B8-8B59B4F646C8}"/>
          </ac:picMkLst>
        </pc:picChg>
        <pc:picChg chg="add del mod">
          <ac:chgData name="Maria Hortense Braz de Matos" userId="5bc5b675-87f3-446e-af61-8743361a8ab5" providerId="ADAL" clId="{4DD53DB0-9DE3-4862-9681-91E06199108A}" dt="2023-12-01T10:43:43.350" v="1854" actId="478"/>
          <ac:picMkLst>
            <pc:docMk/>
            <pc:sldMk cId="780382281" sldId="401"/>
            <ac:picMk id="31" creationId="{FB78813D-C3C1-9282-1635-F43AC07230FD}"/>
          </ac:picMkLst>
        </pc:picChg>
        <pc:picChg chg="add del mod">
          <ac:chgData name="Maria Hortense Braz de Matos" userId="5bc5b675-87f3-446e-af61-8743361a8ab5" providerId="ADAL" clId="{4DD53DB0-9DE3-4862-9681-91E06199108A}" dt="2023-12-01T10:43:43.350" v="1854" actId="478"/>
          <ac:picMkLst>
            <pc:docMk/>
            <pc:sldMk cId="780382281" sldId="401"/>
            <ac:picMk id="3072" creationId="{10F3F649-22E5-E3DD-8D30-7811772FA40C}"/>
          </ac:picMkLst>
        </pc:picChg>
        <pc:picChg chg="add del">
          <ac:chgData name="Maria Hortense Braz de Matos" userId="5bc5b675-87f3-446e-af61-8743361a8ab5" providerId="ADAL" clId="{4DD53DB0-9DE3-4862-9681-91E06199108A}" dt="2023-12-01T10:21:54.705" v="1643" actId="478"/>
          <ac:picMkLst>
            <pc:docMk/>
            <pc:sldMk cId="780382281" sldId="401"/>
            <ac:picMk id="3074" creationId="{CF6CC13D-284E-E771-9F07-CFBDB3C75089}"/>
          </ac:picMkLst>
        </pc:picChg>
        <pc:picChg chg="add del mod">
          <ac:chgData name="Maria Hortense Braz de Matos" userId="5bc5b675-87f3-446e-af61-8743361a8ab5" providerId="ADAL" clId="{4DD53DB0-9DE3-4862-9681-91E06199108A}" dt="2023-12-01T10:26:43.618" v="1698" actId="478"/>
          <ac:picMkLst>
            <pc:docMk/>
            <pc:sldMk cId="780382281" sldId="401"/>
            <ac:picMk id="3076" creationId="{F5226107-F046-1827-74BF-2923EE129408}"/>
          </ac:picMkLst>
        </pc:picChg>
        <pc:picChg chg="add del mod">
          <ac:chgData name="Maria Hortense Braz de Matos" userId="5bc5b675-87f3-446e-af61-8743361a8ab5" providerId="ADAL" clId="{4DD53DB0-9DE3-4862-9681-91E06199108A}" dt="2023-12-01T10:43:26.049" v="1850" actId="478"/>
          <ac:picMkLst>
            <pc:docMk/>
            <pc:sldMk cId="780382281" sldId="401"/>
            <ac:picMk id="3078" creationId="{42D46B80-F1DC-07B2-868E-DDD8DFCD8C68}"/>
          </ac:picMkLst>
        </pc:picChg>
        <pc:picChg chg="add del mod">
          <ac:chgData name="Maria Hortense Braz de Matos" userId="5bc5b675-87f3-446e-af61-8743361a8ab5" providerId="ADAL" clId="{4DD53DB0-9DE3-4862-9681-91E06199108A}" dt="2023-12-01T10:45:54.874" v="1875" actId="478"/>
          <ac:picMkLst>
            <pc:docMk/>
            <pc:sldMk cId="780382281" sldId="401"/>
            <ac:picMk id="3079" creationId="{04D02C25-FC92-326A-6834-E61F8D95BCDF}"/>
          </ac:picMkLst>
        </pc:picChg>
        <pc:picChg chg="add del mod">
          <ac:chgData name="Maria Hortense Braz de Matos" userId="5bc5b675-87f3-446e-af61-8743361a8ab5" providerId="ADAL" clId="{4DD53DB0-9DE3-4862-9681-91E06199108A}" dt="2023-12-01T10:45:54.874" v="1875" actId="478"/>
          <ac:picMkLst>
            <pc:docMk/>
            <pc:sldMk cId="780382281" sldId="401"/>
            <ac:picMk id="3080" creationId="{CE777AAC-F61D-F8BA-93AC-A43FE0A54F3C}"/>
          </ac:picMkLst>
        </pc:picChg>
      </pc:sldChg>
      <pc:sldChg chg="add del">
        <pc:chgData name="Maria Hortense Braz de Matos" userId="5bc5b675-87f3-446e-af61-8743361a8ab5" providerId="ADAL" clId="{4DD53DB0-9DE3-4862-9681-91E06199108A}" dt="2023-11-30T19:23:36.391" v="790" actId="47"/>
        <pc:sldMkLst>
          <pc:docMk/>
          <pc:sldMk cId="107522149" sldId="402"/>
        </pc:sldMkLst>
      </pc:sldChg>
      <pc:sldChg chg="modSp add del mod ord">
        <pc:chgData name="Maria Hortense Braz de Matos" userId="5bc5b675-87f3-446e-af61-8743361a8ab5" providerId="ADAL" clId="{4DD53DB0-9DE3-4862-9681-91E06199108A}" dt="2023-12-01T19:36:49.566" v="6573" actId="47"/>
        <pc:sldMkLst>
          <pc:docMk/>
          <pc:sldMk cId="740698249" sldId="402"/>
        </pc:sldMkLst>
        <pc:spChg chg="mod">
          <ac:chgData name="Maria Hortense Braz de Matos" userId="5bc5b675-87f3-446e-af61-8743361a8ab5" providerId="ADAL" clId="{4DD53DB0-9DE3-4862-9681-91E06199108A}" dt="2023-12-01T09:41:23.666" v="1008" actId="13926"/>
          <ac:spMkLst>
            <pc:docMk/>
            <pc:sldMk cId="740698249" sldId="402"/>
            <ac:spMk id="37" creationId="{AD4D45B0-5E57-0366-5454-2587875C7E6C}"/>
          </ac:spMkLst>
        </pc:spChg>
        <pc:graphicFrameChg chg="mod">
          <ac:chgData name="Maria Hortense Braz de Matos" userId="5bc5b675-87f3-446e-af61-8743361a8ab5" providerId="ADAL" clId="{4DD53DB0-9DE3-4862-9681-91E06199108A}" dt="2023-12-01T09:52:24.768" v="1245" actId="1076"/>
          <ac:graphicFrameMkLst>
            <pc:docMk/>
            <pc:sldMk cId="740698249" sldId="402"/>
            <ac:graphicFrameMk id="34" creationId="{EC0EAFE1-EEBF-4867-3889-A7327FD49B26}"/>
          </ac:graphicFrameMkLst>
        </pc:graphicFrameChg>
      </pc:sldChg>
      <pc:sldChg chg="addSp delSp modSp add mod delCm">
        <pc:chgData name="Maria Hortense Braz de Matos" userId="5bc5b675-87f3-446e-af61-8743361a8ab5" providerId="ADAL" clId="{4DD53DB0-9DE3-4862-9681-91E06199108A}" dt="2023-12-03T17:31:06.114" v="9419" actId="1036"/>
        <pc:sldMkLst>
          <pc:docMk/>
          <pc:sldMk cId="436138604" sldId="403"/>
        </pc:sldMkLst>
        <pc:spChg chg="mod">
          <ac:chgData name="Maria Hortense Braz de Matos" userId="5bc5b675-87f3-446e-af61-8743361a8ab5" providerId="ADAL" clId="{4DD53DB0-9DE3-4862-9681-91E06199108A}" dt="2023-12-01T09:49:26.655" v="1192"/>
          <ac:spMkLst>
            <pc:docMk/>
            <pc:sldMk cId="436138604" sldId="403"/>
            <ac:spMk id="2" creationId="{55EC9EB9-31D0-746C-6198-45C05945FE60}"/>
          </ac:spMkLst>
        </pc:spChg>
        <pc:spChg chg="add mod">
          <ac:chgData name="Maria Hortense Braz de Matos" userId="5bc5b675-87f3-446e-af61-8743361a8ab5" providerId="ADAL" clId="{4DD53DB0-9DE3-4862-9681-91E06199108A}" dt="2023-12-03T17:31:06.114" v="9419" actId="1036"/>
          <ac:spMkLst>
            <pc:docMk/>
            <pc:sldMk cId="436138604" sldId="403"/>
            <ac:spMk id="3" creationId="{491E49A6-4986-6EB0-110C-9A1CF11E21AC}"/>
          </ac:spMkLst>
        </pc:spChg>
        <pc:spChg chg="add del mod">
          <ac:chgData name="Maria Hortense Braz de Matos" userId="5bc5b675-87f3-446e-af61-8743361a8ab5" providerId="ADAL" clId="{4DD53DB0-9DE3-4862-9681-91E06199108A}" dt="2023-12-01T09:42:18.099" v="1016"/>
          <ac:spMkLst>
            <pc:docMk/>
            <pc:sldMk cId="436138604" sldId="403"/>
            <ac:spMk id="3" creationId="{8CEADA89-A8D1-E509-70D3-14780599871A}"/>
          </ac:spMkLst>
        </pc:spChg>
        <pc:spChg chg="add del mod">
          <ac:chgData name="Maria Hortense Braz de Matos" userId="5bc5b675-87f3-446e-af61-8743361a8ab5" providerId="ADAL" clId="{4DD53DB0-9DE3-4862-9681-91E06199108A}" dt="2023-12-01T09:42:18.099" v="1016"/>
          <ac:spMkLst>
            <pc:docMk/>
            <pc:sldMk cId="436138604" sldId="403"/>
            <ac:spMk id="4" creationId="{6718577F-6693-5D86-4D5D-E9DC6C718165}"/>
          </ac:spMkLst>
        </pc:spChg>
        <pc:spChg chg="add del mod">
          <ac:chgData name="Maria Hortense Braz de Matos" userId="5bc5b675-87f3-446e-af61-8743361a8ab5" providerId="ADAL" clId="{4DD53DB0-9DE3-4862-9681-91E06199108A}" dt="2023-12-01T09:42:18.099" v="1016"/>
          <ac:spMkLst>
            <pc:docMk/>
            <pc:sldMk cId="436138604" sldId="403"/>
            <ac:spMk id="5" creationId="{27413B16-F123-6D36-112E-725950F6B378}"/>
          </ac:spMkLst>
        </pc:spChg>
        <pc:spChg chg="add del mod">
          <ac:chgData name="Maria Hortense Braz de Matos" userId="5bc5b675-87f3-446e-af61-8743361a8ab5" providerId="ADAL" clId="{4DD53DB0-9DE3-4862-9681-91E06199108A}" dt="2023-12-01T09:42:21.530" v="1018"/>
          <ac:spMkLst>
            <pc:docMk/>
            <pc:sldMk cId="436138604" sldId="403"/>
            <ac:spMk id="6" creationId="{41D3AB1D-A064-7D46-3064-96BEAE6997C8}"/>
          </ac:spMkLst>
        </pc:spChg>
        <pc:spChg chg="add del mod">
          <ac:chgData name="Maria Hortense Braz de Matos" userId="5bc5b675-87f3-446e-af61-8743361a8ab5" providerId="ADAL" clId="{4DD53DB0-9DE3-4862-9681-91E06199108A}" dt="2023-12-01T09:42:21.530" v="1018"/>
          <ac:spMkLst>
            <pc:docMk/>
            <pc:sldMk cId="436138604" sldId="403"/>
            <ac:spMk id="7" creationId="{58A0C429-14CD-1EEB-E2A1-8B87FF79F5D7}"/>
          </ac:spMkLst>
        </pc:spChg>
        <pc:spChg chg="add del mod">
          <ac:chgData name="Maria Hortense Braz de Matos" userId="5bc5b675-87f3-446e-af61-8743361a8ab5" providerId="ADAL" clId="{4DD53DB0-9DE3-4862-9681-91E06199108A}" dt="2023-12-01T09:42:21.530" v="1018"/>
          <ac:spMkLst>
            <pc:docMk/>
            <pc:sldMk cId="436138604" sldId="403"/>
            <ac:spMk id="8" creationId="{569B451A-78F0-E3B4-8763-269555C74A69}"/>
          </ac:spMkLst>
        </pc:spChg>
        <pc:spChg chg="del">
          <ac:chgData name="Maria Hortense Braz de Matos" userId="5bc5b675-87f3-446e-af61-8743361a8ab5" providerId="ADAL" clId="{4DD53DB0-9DE3-4862-9681-91E06199108A}" dt="2023-12-01T09:41:46.527" v="1011" actId="478"/>
          <ac:spMkLst>
            <pc:docMk/>
            <pc:sldMk cId="436138604" sldId="403"/>
            <ac:spMk id="9" creationId="{F8671836-F539-B347-9907-34093708D847}"/>
          </ac:spMkLst>
        </pc:spChg>
        <pc:spChg chg="del">
          <ac:chgData name="Maria Hortense Braz de Matos" userId="5bc5b675-87f3-446e-af61-8743361a8ab5" providerId="ADAL" clId="{4DD53DB0-9DE3-4862-9681-91E06199108A}" dt="2023-12-01T09:41:46.527" v="1011" actId="478"/>
          <ac:spMkLst>
            <pc:docMk/>
            <pc:sldMk cId="436138604" sldId="403"/>
            <ac:spMk id="10" creationId="{63464BE9-5F31-15A5-8869-FEBC7A4686B4}"/>
          </ac:spMkLst>
        </pc:spChg>
        <pc:spChg chg="del">
          <ac:chgData name="Maria Hortense Braz de Matos" userId="5bc5b675-87f3-446e-af61-8743361a8ab5" providerId="ADAL" clId="{4DD53DB0-9DE3-4862-9681-91E06199108A}" dt="2023-12-01T09:41:46.527" v="1011" actId="478"/>
          <ac:spMkLst>
            <pc:docMk/>
            <pc:sldMk cId="436138604" sldId="403"/>
            <ac:spMk id="11" creationId="{BBB1EDE9-137C-6C8A-6368-78A88E8A23D9}"/>
          </ac:spMkLst>
        </pc:spChg>
        <pc:spChg chg="del">
          <ac:chgData name="Maria Hortense Braz de Matos" userId="5bc5b675-87f3-446e-af61-8743361a8ab5" providerId="ADAL" clId="{4DD53DB0-9DE3-4862-9681-91E06199108A}" dt="2023-12-01T09:42:01.815" v="1012" actId="478"/>
          <ac:spMkLst>
            <pc:docMk/>
            <pc:sldMk cId="436138604" sldId="403"/>
            <ac:spMk id="12" creationId="{2F5BFE02-27EB-89EE-5D44-F79221B2F592}"/>
          </ac:spMkLst>
        </pc:spChg>
        <pc:spChg chg="del mod">
          <ac:chgData name="Maria Hortense Braz de Matos" userId="5bc5b675-87f3-446e-af61-8743361a8ab5" providerId="ADAL" clId="{4DD53DB0-9DE3-4862-9681-91E06199108A}" dt="2023-12-01T09:47:51.598" v="1181" actId="478"/>
          <ac:spMkLst>
            <pc:docMk/>
            <pc:sldMk cId="436138604" sldId="403"/>
            <ac:spMk id="13" creationId="{704105A4-DBC4-91AA-AAEF-52F53926A79D}"/>
          </ac:spMkLst>
        </pc:spChg>
        <pc:spChg chg="del mod">
          <ac:chgData name="Maria Hortense Braz de Matos" userId="5bc5b675-87f3-446e-af61-8743361a8ab5" providerId="ADAL" clId="{4DD53DB0-9DE3-4862-9681-91E06199108A}" dt="2023-12-01T09:47:49.452" v="1180" actId="478"/>
          <ac:spMkLst>
            <pc:docMk/>
            <pc:sldMk cId="436138604" sldId="403"/>
            <ac:spMk id="14" creationId="{41184610-FB7A-5C29-1C2D-32DD271109BD}"/>
          </ac:spMkLst>
        </pc:spChg>
        <pc:spChg chg="add del mod">
          <ac:chgData name="Maria Hortense Braz de Matos" userId="5bc5b675-87f3-446e-af61-8743361a8ab5" providerId="ADAL" clId="{4DD53DB0-9DE3-4862-9681-91E06199108A}" dt="2023-12-01T09:49:19.229" v="1191" actId="478"/>
          <ac:spMkLst>
            <pc:docMk/>
            <pc:sldMk cId="436138604" sldId="403"/>
            <ac:spMk id="15" creationId="{58118EE6-74C1-A239-EE56-A8DB42D40B4F}"/>
          </ac:spMkLst>
        </pc:spChg>
        <pc:spChg chg="add del mod">
          <ac:chgData name="Maria Hortense Braz de Matos" userId="5bc5b675-87f3-446e-af61-8743361a8ab5" providerId="ADAL" clId="{4DD53DB0-9DE3-4862-9681-91E06199108A}" dt="2023-12-01T09:46:16.196" v="1116" actId="478"/>
          <ac:spMkLst>
            <pc:docMk/>
            <pc:sldMk cId="436138604" sldId="403"/>
            <ac:spMk id="16" creationId="{3612DEF4-55A4-3259-AC31-6DA76DA85DF5}"/>
          </ac:spMkLst>
        </pc:spChg>
        <pc:spChg chg="add del mod">
          <ac:chgData name="Maria Hortense Braz de Matos" userId="5bc5b675-87f3-446e-af61-8743361a8ab5" providerId="ADAL" clId="{4DD53DB0-9DE3-4862-9681-91E06199108A}" dt="2023-12-01T09:49:19.229" v="1191" actId="478"/>
          <ac:spMkLst>
            <pc:docMk/>
            <pc:sldMk cId="436138604" sldId="403"/>
            <ac:spMk id="17" creationId="{14E203C1-74A2-858D-86AF-CB0760C171E1}"/>
          </ac:spMkLst>
        </pc:spChg>
        <pc:spChg chg="add del mod">
          <ac:chgData name="Maria Hortense Braz de Matos" userId="5bc5b675-87f3-446e-af61-8743361a8ab5" providerId="ADAL" clId="{4DD53DB0-9DE3-4862-9681-91E06199108A}" dt="2023-12-01T09:46:16.196" v="1116" actId="478"/>
          <ac:spMkLst>
            <pc:docMk/>
            <pc:sldMk cId="436138604" sldId="403"/>
            <ac:spMk id="18" creationId="{8DE75759-7CF2-B81B-20DA-334D58E56E27}"/>
          </ac:spMkLst>
        </pc:spChg>
        <pc:spChg chg="add del mod">
          <ac:chgData name="Maria Hortense Braz de Matos" userId="5bc5b675-87f3-446e-af61-8743361a8ab5" providerId="ADAL" clId="{4DD53DB0-9DE3-4862-9681-91E06199108A}" dt="2023-12-01T09:44:46.004" v="1052" actId="478"/>
          <ac:spMkLst>
            <pc:docMk/>
            <pc:sldMk cId="436138604" sldId="403"/>
            <ac:spMk id="19" creationId="{5336F9D8-2830-88E8-0BBE-A68F1B5AF3F9}"/>
          </ac:spMkLst>
        </pc:spChg>
        <pc:spChg chg="add del mod">
          <ac:chgData name="Maria Hortense Braz de Matos" userId="5bc5b675-87f3-446e-af61-8743361a8ab5" providerId="ADAL" clId="{4DD53DB0-9DE3-4862-9681-91E06199108A}" dt="2023-12-01T09:44:46.004" v="1052" actId="478"/>
          <ac:spMkLst>
            <pc:docMk/>
            <pc:sldMk cId="436138604" sldId="403"/>
            <ac:spMk id="20" creationId="{1975A25B-BDE8-2A60-39B6-82A7D722A4C0}"/>
          </ac:spMkLst>
        </pc:spChg>
        <pc:spChg chg="add del mod">
          <ac:chgData name="Maria Hortense Braz de Matos" userId="5bc5b675-87f3-446e-af61-8743361a8ab5" providerId="ADAL" clId="{4DD53DB0-9DE3-4862-9681-91E06199108A}" dt="2023-12-01T09:49:19.229" v="1191" actId="478"/>
          <ac:spMkLst>
            <pc:docMk/>
            <pc:sldMk cId="436138604" sldId="403"/>
            <ac:spMk id="21" creationId="{3A5B20FE-2ACC-6025-3DE2-B740488B7FC8}"/>
          </ac:spMkLst>
        </pc:spChg>
        <pc:spChg chg="add del mod">
          <ac:chgData name="Maria Hortense Braz de Matos" userId="5bc5b675-87f3-446e-af61-8743361a8ab5" providerId="ADAL" clId="{4DD53DB0-9DE3-4862-9681-91E06199108A}" dt="2023-12-01T09:49:19.229" v="1191" actId="478"/>
          <ac:spMkLst>
            <pc:docMk/>
            <pc:sldMk cId="436138604" sldId="403"/>
            <ac:spMk id="22" creationId="{D0AA0C35-C388-3530-6AD7-A73AC5FB02FF}"/>
          </ac:spMkLst>
        </pc:spChg>
        <pc:spChg chg="del">
          <ac:chgData name="Maria Hortense Braz de Matos" userId="5bc5b675-87f3-446e-af61-8743361a8ab5" providerId="ADAL" clId="{4DD53DB0-9DE3-4862-9681-91E06199108A}" dt="2023-12-01T09:41:46.527" v="1011" actId="478"/>
          <ac:spMkLst>
            <pc:docMk/>
            <pc:sldMk cId="436138604" sldId="403"/>
            <ac:spMk id="23" creationId="{64F189DA-5BA4-E9F4-36A5-696A1A35E515}"/>
          </ac:spMkLst>
        </pc:spChg>
        <pc:spChg chg="del">
          <ac:chgData name="Maria Hortense Braz de Matos" userId="5bc5b675-87f3-446e-af61-8743361a8ab5" providerId="ADAL" clId="{4DD53DB0-9DE3-4862-9681-91E06199108A}" dt="2023-12-01T09:42:01.815" v="1012" actId="478"/>
          <ac:spMkLst>
            <pc:docMk/>
            <pc:sldMk cId="436138604" sldId="403"/>
            <ac:spMk id="24" creationId="{1D6214E3-76CC-91C9-F33A-7C77C3F7856C}"/>
          </ac:spMkLst>
        </pc:spChg>
        <pc:spChg chg="add del mod">
          <ac:chgData name="Maria Hortense Braz de Matos" userId="5bc5b675-87f3-446e-af61-8743361a8ab5" providerId="ADAL" clId="{4DD53DB0-9DE3-4862-9681-91E06199108A}" dt="2023-12-01T09:44:46.004" v="1052" actId="478"/>
          <ac:spMkLst>
            <pc:docMk/>
            <pc:sldMk cId="436138604" sldId="403"/>
            <ac:spMk id="25" creationId="{F4B1D513-E4CA-C06D-2323-3CDFA401145F}"/>
          </ac:spMkLst>
        </pc:spChg>
        <pc:spChg chg="del mod">
          <ac:chgData name="Maria Hortense Braz de Matos" userId="5bc5b675-87f3-446e-af61-8743361a8ab5" providerId="ADAL" clId="{4DD53DB0-9DE3-4862-9681-91E06199108A}" dt="2023-12-01T09:47:49.452" v="1180" actId="478"/>
          <ac:spMkLst>
            <pc:docMk/>
            <pc:sldMk cId="436138604" sldId="403"/>
            <ac:spMk id="26" creationId="{68045DF8-82A1-FC3C-5E5E-B8B347894088}"/>
          </ac:spMkLst>
        </pc:spChg>
        <pc:spChg chg="del mod">
          <ac:chgData name="Maria Hortense Braz de Matos" userId="5bc5b675-87f3-446e-af61-8743361a8ab5" providerId="ADAL" clId="{4DD53DB0-9DE3-4862-9681-91E06199108A}" dt="2023-12-01T09:47:51.598" v="1181" actId="478"/>
          <ac:spMkLst>
            <pc:docMk/>
            <pc:sldMk cId="436138604" sldId="403"/>
            <ac:spMk id="27" creationId="{795B2E8F-E6BD-E09C-C560-F374EB19318F}"/>
          </ac:spMkLst>
        </pc:spChg>
        <pc:spChg chg="del mod">
          <ac:chgData name="Maria Hortense Braz de Matos" userId="5bc5b675-87f3-446e-af61-8743361a8ab5" providerId="ADAL" clId="{4DD53DB0-9DE3-4862-9681-91E06199108A}" dt="2023-12-01T09:47:51.598" v="1181" actId="478"/>
          <ac:spMkLst>
            <pc:docMk/>
            <pc:sldMk cId="436138604" sldId="403"/>
            <ac:spMk id="28" creationId="{BE7C6410-B919-5D20-5E0C-C78A90794635}"/>
          </ac:spMkLst>
        </pc:spChg>
        <pc:spChg chg="del mod">
          <ac:chgData name="Maria Hortense Braz de Matos" userId="5bc5b675-87f3-446e-af61-8743361a8ab5" providerId="ADAL" clId="{4DD53DB0-9DE3-4862-9681-91E06199108A}" dt="2023-12-01T09:47:49.452" v="1180" actId="478"/>
          <ac:spMkLst>
            <pc:docMk/>
            <pc:sldMk cId="436138604" sldId="403"/>
            <ac:spMk id="29" creationId="{6A443D00-E20A-FECC-8FE7-9CCD5D75C870}"/>
          </ac:spMkLst>
        </pc:spChg>
        <pc:spChg chg="del">
          <ac:chgData name="Maria Hortense Braz de Matos" userId="5bc5b675-87f3-446e-af61-8743361a8ab5" providerId="ADAL" clId="{4DD53DB0-9DE3-4862-9681-91E06199108A}" dt="2023-12-01T09:41:46.527" v="1011" actId="478"/>
          <ac:spMkLst>
            <pc:docMk/>
            <pc:sldMk cId="436138604" sldId="403"/>
            <ac:spMk id="31" creationId="{1FA2C0B4-5D27-873D-C264-E09BC8B3D784}"/>
          </ac:spMkLst>
        </pc:spChg>
        <pc:spChg chg="del">
          <ac:chgData name="Maria Hortense Braz de Matos" userId="5bc5b675-87f3-446e-af61-8743361a8ab5" providerId="ADAL" clId="{4DD53DB0-9DE3-4862-9681-91E06199108A}" dt="2023-12-01T09:42:01.815" v="1012" actId="478"/>
          <ac:spMkLst>
            <pc:docMk/>
            <pc:sldMk cId="436138604" sldId="403"/>
            <ac:spMk id="32" creationId="{4B504713-CA68-7D53-2CBF-47352B0273EA}"/>
          </ac:spMkLst>
        </pc:spChg>
        <pc:spChg chg="del">
          <ac:chgData name="Maria Hortense Braz de Matos" userId="5bc5b675-87f3-446e-af61-8743361a8ab5" providerId="ADAL" clId="{4DD53DB0-9DE3-4862-9681-91E06199108A}" dt="2023-12-01T09:41:46.527" v="1011" actId="478"/>
          <ac:spMkLst>
            <pc:docMk/>
            <pc:sldMk cId="436138604" sldId="403"/>
            <ac:spMk id="33" creationId="{1BC0E35A-BCB8-D92A-8B52-2CFB822B43A8}"/>
          </ac:spMkLst>
        </pc:spChg>
        <pc:spChg chg="del">
          <ac:chgData name="Maria Hortense Braz de Matos" userId="5bc5b675-87f3-446e-af61-8743361a8ab5" providerId="ADAL" clId="{4DD53DB0-9DE3-4862-9681-91E06199108A}" dt="2023-12-01T09:41:46.527" v="1011" actId="478"/>
          <ac:spMkLst>
            <pc:docMk/>
            <pc:sldMk cId="436138604" sldId="403"/>
            <ac:spMk id="36" creationId="{E04B0B70-9F83-E11F-3715-59E1A492980E}"/>
          </ac:spMkLst>
        </pc:spChg>
        <pc:spChg chg="add del mod">
          <ac:chgData name="Maria Hortense Braz de Matos" userId="5bc5b675-87f3-446e-af61-8743361a8ab5" providerId="ADAL" clId="{4DD53DB0-9DE3-4862-9681-91E06199108A}" dt="2023-12-01T09:44:46.004" v="1052" actId="478"/>
          <ac:spMkLst>
            <pc:docMk/>
            <pc:sldMk cId="436138604" sldId="403"/>
            <ac:spMk id="38" creationId="{F7A297A3-120C-18E1-BDA9-302590546E7C}"/>
          </ac:spMkLst>
        </pc:spChg>
        <pc:spChg chg="add del mod">
          <ac:chgData name="Maria Hortense Braz de Matos" userId="5bc5b675-87f3-446e-af61-8743361a8ab5" providerId="ADAL" clId="{4DD53DB0-9DE3-4862-9681-91E06199108A}" dt="2023-12-01T09:46:16.196" v="1116" actId="478"/>
          <ac:spMkLst>
            <pc:docMk/>
            <pc:sldMk cId="436138604" sldId="403"/>
            <ac:spMk id="39" creationId="{D4B45025-2078-4402-5506-F2E3BEDE4DB3}"/>
          </ac:spMkLst>
        </pc:spChg>
        <pc:spChg chg="del">
          <ac:chgData name="Maria Hortense Braz de Matos" userId="5bc5b675-87f3-446e-af61-8743361a8ab5" providerId="ADAL" clId="{4DD53DB0-9DE3-4862-9681-91E06199108A}" dt="2023-12-01T09:41:46.527" v="1011" actId="478"/>
          <ac:spMkLst>
            <pc:docMk/>
            <pc:sldMk cId="436138604" sldId="403"/>
            <ac:spMk id="40" creationId="{F30CFF19-2F0D-7C3F-DDBA-0E9319E2963C}"/>
          </ac:spMkLst>
        </pc:spChg>
        <pc:spChg chg="del">
          <ac:chgData name="Maria Hortense Braz de Matos" userId="5bc5b675-87f3-446e-af61-8743361a8ab5" providerId="ADAL" clId="{4DD53DB0-9DE3-4862-9681-91E06199108A}" dt="2023-12-01T09:41:46.527" v="1011" actId="478"/>
          <ac:spMkLst>
            <pc:docMk/>
            <pc:sldMk cId="436138604" sldId="403"/>
            <ac:spMk id="41" creationId="{E7A88F36-213C-4479-D1E2-0F9498AD1080}"/>
          </ac:spMkLst>
        </pc:spChg>
        <pc:spChg chg="del">
          <ac:chgData name="Maria Hortense Braz de Matos" userId="5bc5b675-87f3-446e-af61-8743361a8ab5" providerId="ADAL" clId="{4DD53DB0-9DE3-4862-9681-91E06199108A}" dt="2023-12-01T09:42:01.815" v="1012" actId="478"/>
          <ac:spMkLst>
            <pc:docMk/>
            <pc:sldMk cId="436138604" sldId="403"/>
            <ac:spMk id="42" creationId="{0EAB8F04-0ACC-BFEE-2B2D-BA0ACCFE369F}"/>
          </ac:spMkLst>
        </pc:spChg>
        <pc:spChg chg="del">
          <ac:chgData name="Maria Hortense Braz de Matos" userId="5bc5b675-87f3-446e-af61-8743361a8ab5" providerId="ADAL" clId="{4DD53DB0-9DE3-4862-9681-91E06199108A}" dt="2023-12-01T09:42:01.815" v="1012" actId="478"/>
          <ac:spMkLst>
            <pc:docMk/>
            <pc:sldMk cId="436138604" sldId="403"/>
            <ac:spMk id="43" creationId="{D860FC72-085F-4921-D979-4E99EC8AC412}"/>
          </ac:spMkLst>
        </pc:spChg>
        <pc:spChg chg="add del mod">
          <ac:chgData name="Maria Hortense Braz de Matos" userId="5bc5b675-87f3-446e-af61-8743361a8ab5" providerId="ADAL" clId="{4DD53DB0-9DE3-4862-9681-91E06199108A}" dt="2023-12-01T09:46:16.196" v="1116" actId="478"/>
          <ac:spMkLst>
            <pc:docMk/>
            <pc:sldMk cId="436138604" sldId="403"/>
            <ac:spMk id="45" creationId="{C3B2E78D-4A7A-F210-0FEC-25D3B2FC6A26}"/>
          </ac:spMkLst>
        </pc:spChg>
        <pc:spChg chg="add del mod">
          <ac:chgData name="Maria Hortense Braz de Matos" userId="5bc5b675-87f3-446e-af61-8743361a8ab5" providerId="ADAL" clId="{4DD53DB0-9DE3-4862-9681-91E06199108A}" dt="2023-12-01T09:44:34.338" v="1050"/>
          <ac:spMkLst>
            <pc:docMk/>
            <pc:sldMk cId="436138604" sldId="403"/>
            <ac:spMk id="46" creationId="{CF34EDCA-DFB2-2BB8-A0BA-CD4F44D773A3}"/>
          </ac:spMkLst>
        </pc:spChg>
        <pc:spChg chg="add del mod">
          <ac:chgData name="Maria Hortense Braz de Matos" userId="5bc5b675-87f3-446e-af61-8743361a8ab5" providerId="ADAL" clId="{4DD53DB0-9DE3-4862-9681-91E06199108A}" dt="2023-12-01T09:44:34.338" v="1050"/>
          <ac:spMkLst>
            <pc:docMk/>
            <pc:sldMk cId="436138604" sldId="403"/>
            <ac:spMk id="47" creationId="{6590A69E-ADD0-350E-2FD5-B8C9105FC11D}"/>
          </ac:spMkLst>
        </pc:spChg>
        <pc:spChg chg="add del mod">
          <ac:chgData name="Maria Hortense Braz de Matos" userId="5bc5b675-87f3-446e-af61-8743361a8ab5" providerId="ADAL" clId="{4DD53DB0-9DE3-4862-9681-91E06199108A}" dt="2023-12-01T09:44:34.338" v="1050"/>
          <ac:spMkLst>
            <pc:docMk/>
            <pc:sldMk cId="436138604" sldId="403"/>
            <ac:spMk id="48" creationId="{71E777F7-D9BE-6DF6-BC94-8E464F99BBD9}"/>
          </ac:spMkLst>
        </pc:spChg>
        <pc:spChg chg="add del mod">
          <ac:chgData name="Maria Hortense Braz de Matos" userId="5bc5b675-87f3-446e-af61-8743361a8ab5" providerId="ADAL" clId="{4DD53DB0-9DE3-4862-9681-91E06199108A}" dt="2023-12-01T09:44:34.338" v="1050"/>
          <ac:spMkLst>
            <pc:docMk/>
            <pc:sldMk cId="436138604" sldId="403"/>
            <ac:spMk id="49" creationId="{C8F8DD05-F4F8-E188-E807-D73C7789B4BF}"/>
          </ac:spMkLst>
        </pc:spChg>
        <pc:spChg chg="add del mod">
          <ac:chgData name="Maria Hortense Braz de Matos" userId="5bc5b675-87f3-446e-af61-8743361a8ab5" providerId="ADAL" clId="{4DD53DB0-9DE3-4862-9681-91E06199108A}" dt="2023-12-01T09:49:19.229" v="1191" actId="478"/>
          <ac:spMkLst>
            <pc:docMk/>
            <pc:sldMk cId="436138604" sldId="403"/>
            <ac:spMk id="50" creationId="{A6618617-C9A5-34DC-F7DB-E9ACA54B58A0}"/>
          </ac:spMkLst>
        </pc:spChg>
        <pc:spChg chg="add del mod">
          <ac:chgData name="Maria Hortense Braz de Matos" userId="5bc5b675-87f3-446e-af61-8743361a8ab5" providerId="ADAL" clId="{4DD53DB0-9DE3-4862-9681-91E06199108A}" dt="2023-12-01T09:49:19.229" v="1191" actId="478"/>
          <ac:spMkLst>
            <pc:docMk/>
            <pc:sldMk cId="436138604" sldId="403"/>
            <ac:spMk id="51" creationId="{BF8CB83B-37C6-A495-3F4E-B445644712AF}"/>
          </ac:spMkLst>
        </pc:spChg>
        <pc:spChg chg="add del mod">
          <ac:chgData name="Maria Hortense Braz de Matos" userId="5bc5b675-87f3-446e-af61-8743361a8ab5" providerId="ADAL" clId="{4DD53DB0-9DE3-4862-9681-91E06199108A}" dt="2023-12-01T09:49:19.229" v="1191" actId="478"/>
          <ac:spMkLst>
            <pc:docMk/>
            <pc:sldMk cId="436138604" sldId="403"/>
            <ac:spMk id="52" creationId="{3CFFCA32-A59B-ABFE-EF76-4DDBEB7AC693}"/>
          </ac:spMkLst>
        </pc:spChg>
        <pc:spChg chg="add del mod">
          <ac:chgData name="Maria Hortense Braz de Matos" userId="5bc5b675-87f3-446e-af61-8743361a8ab5" providerId="ADAL" clId="{4DD53DB0-9DE3-4862-9681-91E06199108A}" dt="2023-12-01T09:49:19.229" v="1191" actId="478"/>
          <ac:spMkLst>
            <pc:docMk/>
            <pc:sldMk cId="436138604" sldId="403"/>
            <ac:spMk id="53" creationId="{6B4D8E7A-1218-C28F-B53C-90D7868DF929}"/>
          </ac:spMkLst>
        </pc:spChg>
        <pc:spChg chg="add del mod">
          <ac:chgData name="Maria Hortense Braz de Matos" userId="5bc5b675-87f3-446e-af61-8743361a8ab5" providerId="ADAL" clId="{4DD53DB0-9DE3-4862-9681-91E06199108A}" dt="2023-12-01T09:49:19.229" v="1191" actId="478"/>
          <ac:spMkLst>
            <pc:docMk/>
            <pc:sldMk cId="436138604" sldId="403"/>
            <ac:spMk id="54" creationId="{8873C6D4-73C8-2E6F-BB3D-5EC3000EFCFB}"/>
          </ac:spMkLst>
        </pc:spChg>
        <pc:spChg chg="add del mod">
          <ac:chgData name="Maria Hortense Braz de Matos" userId="5bc5b675-87f3-446e-af61-8743361a8ab5" providerId="ADAL" clId="{4DD53DB0-9DE3-4862-9681-91E06199108A}" dt="2023-12-01T09:49:19.229" v="1191" actId="478"/>
          <ac:spMkLst>
            <pc:docMk/>
            <pc:sldMk cId="436138604" sldId="403"/>
            <ac:spMk id="55" creationId="{811FD817-94B4-6B30-8909-7E478C1DAEDF}"/>
          </ac:spMkLst>
        </pc:spChg>
        <pc:spChg chg="add del mod">
          <ac:chgData name="Maria Hortense Braz de Matos" userId="5bc5b675-87f3-446e-af61-8743361a8ab5" providerId="ADAL" clId="{4DD53DB0-9DE3-4862-9681-91E06199108A}" dt="2023-12-01T09:49:19.229" v="1191" actId="478"/>
          <ac:spMkLst>
            <pc:docMk/>
            <pc:sldMk cId="436138604" sldId="403"/>
            <ac:spMk id="56" creationId="{0C04503F-F0F5-1D30-5F65-44CF9F96C7CD}"/>
          </ac:spMkLst>
        </pc:spChg>
        <pc:spChg chg="add del mod">
          <ac:chgData name="Maria Hortense Braz de Matos" userId="5bc5b675-87f3-446e-af61-8743361a8ab5" providerId="ADAL" clId="{4DD53DB0-9DE3-4862-9681-91E06199108A}" dt="2023-12-01T09:49:19.229" v="1191" actId="478"/>
          <ac:spMkLst>
            <pc:docMk/>
            <pc:sldMk cId="436138604" sldId="403"/>
            <ac:spMk id="57" creationId="{7D6D25B8-2FE6-5117-F767-E11448BFBCD4}"/>
          </ac:spMkLst>
        </pc:spChg>
        <pc:spChg chg="add del mod">
          <ac:chgData name="Maria Hortense Braz de Matos" userId="5bc5b675-87f3-446e-af61-8743361a8ab5" providerId="ADAL" clId="{4DD53DB0-9DE3-4862-9681-91E06199108A}" dt="2023-12-01T10:07:26.655" v="1403" actId="478"/>
          <ac:spMkLst>
            <pc:docMk/>
            <pc:sldMk cId="436138604" sldId="403"/>
            <ac:spMk id="58" creationId="{2934C959-4A25-8519-0640-739D7551E33E}"/>
          </ac:spMkLst>
        </pc:spChg>
        <pc:spChg chg="add del mod">
          <ac:chgData name="Maria Hortense Braz de Matos" userId="5bc5b675-87f3-446e-af61-8743361a8ab5" providerId="ADAL" clId="{4DD53DB0-9DE3-4862-9681-91E06199108A}" dt="2023-12-01T10:07:26.060" v="1402" actId="478"/>
          <ac:spMkLst>
            <pc:docMk/>
            <pc:sldMk cId="436138604" sldId="403"/>
            <ac:spMk id="59" creationId="{E2091110-A89E-6F79-468C-96835B5E7516}"/>
          </ac:spMkLst>
        </pc:spChg>
        <pc:spChg chg="add mod">
          <ac:chgData name="Maria Hortense Braz de Matos" userId="5bc5b675-87f3-446e-af61-8743361a8ab5" providerId="ADAL" clId="{4DD53DB0-9DE3-4862-9681-91E06199108A}" dt="2023-12-03T17:31:06.114" v="9419" actId="1036"/>
          <ac:spMkLst>
            <pc:docMk/>
            <pc:sldMk cId="436138604" sldId="403"/>
            <ac:spMk id="60" creationId="{3D47395C-AD96-0391-D3BB-2C9B01CC519D}"/>
          </ac:spMkLst>
        </pc:spChg>
        <pc:spChg chg="add mod">
          <ac:chgData name="Maria Hortense Braz de Matos" userId="5bc5b675-87f3-446e-af61-8743361a8ab5" providerId="ADAL" clId="{4DD53DB0-9DE3-4862-9681-91E06199108A}" dt="2023-12-03T17:31:06.114" v="9419" actId="1036"/>
          <ac:spMkLst>
            <pc:docMk/>
            <pc:sldMk cId="436138604" sldId="403"/>
            <ac:spMk id="61" creationId="{9FA0BD40-17FE-5B1F-5316-AE91EAB8B1F9}"/>
          </ac:spMkLst>
        </pc:spChg>
        <pc:spChg chg="add mod">
          <ac:chgData name="Maria Hortense Braz de Matos" userId="5bc5b675-87f3-446e-af61-8743361a8ab5" providerId="ADAL" clId="{4DD53DB0-9DE3-4862-9681-91E06199108A}" dt="2023-12-03T17:31:06.114" v="9419" actId="1036"/>
          <ac:spMkLst>
            <pc:docMk/>
            <pc:sldMk cId="436138604" sldId="403"/>
            <ac:spMk id="62" creationId="{FBE2C0AD-7C55-9DFA-57DD-4246D3B6124D}"/>
          </ac:spMkLst>
        </pc:spChg>
        <pc:spChg chg="add del mod ord">
          <ac:chgData name="Maria Hortense Braz de Matos" userId="5bc5b675-87f3-446e-af61-8743361a8ab5" providerId="ADAL" clId="{4DD53DB0-9DE3-4862-9681-91E06199108A}" dt="2023-12-01T09:52:48.090" v="1252" actId="478"/>
          <ac:spMkLst>
            <pc:docMk/>
            <pc:sldMk cId="436138604" sldId="403"/>
            <ac:spMk id="65" creationId="{48E141D7-E071-056B-4165-1D5FEE120F88}"/>
          </ac:spMkLst>
        </pc:spChg>
        <pc:spChg chg="add mod">
          <ac:chgData name="Maria Hortense Braz de Matos" userId="5bc5b675-87f3-446e-af61-8743361a8ab5" providerId="ADAL" clId="{4DD53DB0-9DE3-4862-9681-91E06199108A}" dt="2023-12-03T17:31:06.114" v="9419" actId="1036"/>
          <ac:spMkLst>
            <pc:docMk/>
            <pc:sldMk cId="436138604" sldId="403"/>
            <ac:spMk id="67" creationId="{EA908AD1-C6D6-221A-2342-6833B82ECB02}"/>
          </ac:spMkLst>
        </pc:spChg>
        <pc:spChg chg="add mod">
          <ac:chgData name="Maria Hortense Braz de Matos" userId="5bc5b675-87f3-446e-af61-8743361a8ab5" providerId="ADAL" clId="{4DD53DB0-9DE3-4862-9681-91E06199108A}" dt="2023-12-03T17:31:06.114" v="9419" actId="1036"/>
          <ac:spMkLst>
            <pc:docMk/>
            <pc:sldMk cId="436138604" sldId="403"/>
            <ac:spMk id="69" creationId="{3B42895E-0EE5-E927-1572-D1541D581EFF}"/>
          </ac:spMkLst>
        </pc:spChg>
        <pc:spChg chg="add mod">
          <ac:chgData name="Maria Hortense Braz de Matos" userId="5bc5b675-87f3-446e-af61-8743361a8ab5" providerId="ADAL" clId="{4DD53DB0-9DE3-4862-9681-91E06199108A}" dt="2023-12-01T10:15:31.977" v="1584" actId="1036"/>
          <ac:spMkLst>
            <pc:docMk/>
            <pc:sldMk cId="436138604" sldId="403"/>
            <ac:spMk id="70" creationId="{29BE9B46-E20A-8D27-F389-4B8006825142}"/>
          </ac:spMkLst>
        </pc:spChg>
        <pc:spChg chg="add del mod">
          <ac:chgData name="Maria Hortense Braz de Matos" userId="5bc5b675-87f3-446e-af61-8743361a8ab5" providerId="ADAL" clId="{4DD53DB0-9DE3-4862-9681-91E06199108A}" dt="2023-12-01T10:06:03.712" v="1390" actId="478"/>
          <ac:spMkLst>
            <pc:docMk/>
            <pc:sldMk cId="436138604" sldId="403"/>
            <ac:spMk id="72" creationId="{F1AB30C4-977D-16D5-7492-A8D8E2533BD6}"/>
          </ac:spMkLst>
        </pc:spChg>
        <pc:spChg chg="add del mod">
          <ac:chgData name="Maria Hortense Braz de Matos" userId="5bc5b675-87f3-446e-af61-8743361a8ab5" providerId="ADAL" clId="{4DD53DB0-9DE3-4862-9681-91E06199108A}" dt="2023-12-01T10:13:45.386" v="1485" actId="478"/>
          <ac:spMkLst>
            <pc:docMk/>
            <pc:sldMk cId="436138604" sldId="403"/>
            <ac:spMk id="73" creationId="{6B812DC5-2717-E4B2-18A9-F27DE0467BAA}"/>
          </ac:spMkLst>
        </pc:spChg>
        <pc:spChg chg="add mod">
          <ac:chgData name="Maria Hortense Braz de Matos" userId="5bc5b675-87f3-446e-af61-8743361a8ab5" providerId="ADAL" clId="{4DD53DB0-9DE3-4862-9681-91E06199108A}" dt="2023-12-01T12:41:06.490" v="3710" actId="2085"/>
          <ac:spMkLst>
            <pc:docMk/>
            <pc:sldMk cId="436138604" sldId="403"/>
            <ac:spMk id="74" creationId="{BD9F424D-A71F-3F35-993B-52D45F795329}"/>
          </ac:spMkLst>
        </pc:spChg>
        <pc:spChg chg="add del mod">
          <ac:chgData name="Maria Hortense Braz de Matos" userId="5bc5b675-87f3-446e-af61-8743361a8ab5" providerId="ADAL" clId="{4DD53DB0-9DE3-4862-9681-91E06199108A}" dt="2023-12-01T10:11:29.616" v="1473" actId="478"/>
          <ac:spMkLst>
            <pc:docMk/>
            <pc:sldMk cId="436138604" sldId="403"/>
            <ac:spMk id="75" creationId="{1009D2F5-D9FC-782C-26E8-0B2CE78236A0}"/>
          </ac:spMkLst>
        </pc:spChg>
        <pc:spChg chg="add del mod ord">
          <ac:chgData name="Maria Hortense Braz de Matos" userId="5bc5b675-87f3-446e-af61-8743361a8ab5" providerId="ADAL" clId="{4DD53DB0-9DE3-4862-9681-91E06199108A}" dt="2023-12-01T10:12:00.282" v="1478" actId="478"/>
          <ac:spMkLst>
            <pc:docMk/>
            <pc:sldMk cId="436138604" sldId="403"/>
            <ac:spMk id="76" creationId="{BC66BBF1-5E85-96F1-9D35-79B633A2B964}"/>
          </ac:spMkLst>
        </pc:spChg>
        <pc:graphicFrameChg chg="del">
          <ac:chgData name="Maria Hortense Braz de Matos" userId="5bc5b675-87f3-446e-af61-8743361a8ab5" providerId="ADAL" clId="{4DD53DB0-9DE3-4862-9681-91E06199108A}" dt="2023-12-01T09:42:01.815" v="1012" actId="478"/>
          <ac:graphicFrameMkLst>
            <pc:docMk/>
            <pc:sldMk cId="436138604" sldId="403"/>
            <ac:graphicFrameMk id="30" creationId="{CF65017F-7091-CDAF-B4E9-CA72DFBB022F}"/>
          </ac:graphicFrameMkLst>
        </pc:graphicFrameChg>
        <pc:graphicFrameChg chg="del">
          <ac:chgData name="Maria Hortense Braz de Matos" userId="5bc5b675-87f3-446e-af61-8743361a8ab5" providerId="ADAL" clId="{4DD53DB0-9DE3-4862-9681-91E06199108A}" dt="2023-12-01T09:41:46.527" v="1011" actId="478"/>
          <ac:graphicFrameMkLst>
            <pc:docMk/>
            <pc:sldMk cId="436138604" sldId="403"/>
            <ac:graphicFrameMk id="34" creationId="{EC0EAFE1-EEBF-4867-3889-A7327FD49B26}"/>
          </ac:graphicFrameMkLst>
        </pc:graphicFrameChg>
        <pc:graphicFrameChg chg="add mod">
          <ac:chgData name="Maria Hortense Braz de Matos" userId="5bc5b675-87f3-446e-af61-8743361a8ab5" providerId="ADAL" clId="{4DD53DB0-9DE3-4862-9681-91E06199108A}" dt="2023-12-03T17:31:06.114" v="9419" actId="1036"/>
          <ac:graphicFrameMkLst>
            <pc:docMk/>
            <pc:sldMk cId="436138604" sldId="403"/>
            <ac:graphicFrameMk id="63" creationId="{CDC5BF55-8325-131A-784F-B2180F478444}"/>
          </ac:graphicFrameMkLst>
        </pc:graphicFrameChg>
        <pc:graphicFrameChg chg="add del mod">
          <ac:chgData name="Maria Hortense Braz de Matos" userId="5bc5b675-87f3-446e-af61-8743361a8ab5" providerId="ADAL" clId="{4DD53DB0-9DE3-4862-9681-91E06199108A}" dt="2023-12-01T09:52:18.691" v="1243"/>
          <ac:graphicFrameMkLst>
            <pc:docMk/>
            <pc:sldMk cId="436138604" sldId="403"/>
            <ac:graphicFrameMk id="64" creationId="{82300126-7694-CE73-F1B7-EA9842EC7ABA}"/>
          </ac:graphicFrameMkLst>
        </pc:graphicFrameChg>
        <pc:graphicFrameChg chg="add mod">
          <ac:chgData name="Maria Hortense Braz de Matos" userId="5bc5b675-87f3-446e-af61-8743361a8ab5" providerId="ADAL" clId="{4DD53DB0-9DE3-4862-9681-91E06199108A}" dt="2023-12-03T17:31:06.114" v="9419" actId="1036"/>
          <ac:graphicFrameMkLst>
            <pc:docMk/>
            <pc:sldMk cId="436138604" sldId="403"/>
            <ac:graphicFrameMk id="68" creationId="{0C84A05C-AEEB-123A-A0FC-B989CE768FD6}"/>
          </ac:graphicFrameMkLst>
        </pc:graphicFrameChg>
        <pc:picChg chg="mod">
          <ac:chgData name="Maria Hortense Braz de Matos" userId="5bc5b675-87f3-446e-af61-8743361a8ab5" providerId="ADAL" clId="{4DD53DB0-9DE3-4862-9681-91E06199108A}" dt="2023-12-03T17:31:06.114" v="9419" actId="1036"/>
          <ac:picMkLst>
            <pc:docMk/>
            <pc:sldMk cId="436138604" sldId="403"/>
            <ac:picMk id="4" creationId="{7A5B6AAF-19A6-83D1-F89E-AE8B88449A80}"/>
          </ac:picMkLst>
        </pc:picChg>
        <pc:picChg chg="del">
          <ac:chgData name="Maria Hortense Braz de Matos" userId="5bc5b675-87f3-446e-af61-8743361a8ab5" providerId="ADAL" clId="{4DD53DB0-9DE3-4862-9681-91E06199108A}" dt="2023-12-01T09:41:46.527" v="1011" actId="478"/>
          <ac:picMkLst>
            <pc:docMk/>
            <pc:sldMk cId="436138604" sldId="403"/>
            <ac:picMk id="35" creationId="{6A2A0F96-FB3C-A637-2DF0-1BE9488582B3}"/>
          </ac:picMkLst>
        </pc:picChg>
        <pc:picChg chg="add del mod">
          <ac:chgData name="Maria Hortense Braz de Matos" userId="5bc5b675-87f3-446e-af61-8743361a8ab5" providerId="ADAL" clId="{4DD53DB0-9DE3-4862-9681-91E06199108A}" dt="2023-12-01T10:03:10.532" v="1353" actId="478"/>
          <ac:picMkLst>
            <pc:docMk/>
            <pc:sldMk cId="436138604" sldId="403"/>
            <ac:picMk id="66" creationId="{415E3BE2-6B37-A2FF-CAD3-867E635952E4}"/>
          </ac:picMkLst>
        </pc:picChg>
        <pc:picChg chg="add mod">
          <ac:chgData name="Maria Hortense Braz de Matos" userId="5bc5b675-87f3-446e-af61-8743361a8ab5" providerId="ADAL" clId="{4DD53DB0-9DE3-4862-9681-91E06199108A}" dt="2023-12-01T10:15:31.977" v="1584" actId="1036"/>
          <ac:picMkLst>
            <pc:docMk/>
            <pc:sldMk cId="436138604" sldId="403"/>
            <ac:picMk id="71" creationId="{022C8D59-0FB5-7768-91E6-45AE42D7572A}"/>
          </ac:picMkLst>
        </pc:picChg>
        <pc:picChg chg="add del mod">
          <ac:chgData name="Maria Hortense Braz de Matos" userId="5bc5b675-87f3-446e-af61-8743361a8ab5" providerId="ADAL" clId="{4DD53DB0-9DE3-4862-9681-91E06199108A}" dt="2023-12-01T10:17:33.031" v="1595" actId="21"/>
          <ac:picMkLst>
            <pc:docMk/>
            <pc:sldMk cId="436138604" sldId="403"/>
            <ac:picMk id="82" creationId="{5E7C0ABD-81A8-3D4E-5233-6BE18EDF4867}"/>
          </ac:picMkLst>
        </pc:picChg>
        <pc:picChg chg="add mod">
          <ac:chgData name="Maria Hortense Braz de Matos" userId="5bc5b675-87f3-446e-af61-8743361a8ab5" providerId="ADAL" clId="{4DD53DB0-9DE3-4862-9681-91E06199108A}" dt="2023-12-03T17:31:06.114" v="9419" actId="1036"/>
          <ac:picMkLst>
            <pc:docMk/>
            <pc:sldMk cId="436138604" sldId="403"/>
            <ac:picMk id="1026" creationId="{0C9954AD-A5AA-AE86-A26E-31896BFE46C7}"/>
          </ac:picMkLst>
        </pc:picChg>
        <pc:cxnChg chg="add mod">
          <ac:chgData name="Maria Hortense Braz de Matos" userId="5bc5b675-87f3-446e-af61-8743361a8ab5" providerId="ADAL" clId="{4DD53DB0-9DE3-4862-9681-91E06199108A}" dt="2023-12-03T17:31:06.114" v="9419" actId="1036"/>
          <ac:cxnSpMkLst>
            <pc:docMk/>
            <pc:sldMk cId="436138604" sldId="403"/>
            <ac:cxnSpMk id="6" creationId="{BABE2296-91F2-E531-13C3-A673AC7DAEC7}"/>
          </ac:cxnSpMkLst>
        </pc:cxnChg>
        <pc:cxnChg chg="add del mod">
          <ac:chgData name="Maria Hortense Braz de Matos" userId="5bc5b675-87f3-446e-af61-8743361a8ab5" providerId="ADAL" clId="{4DD53DB0-9DE3-4862-9681-91E06199108A}" dt="2023-12-01T10:16:01.301" v="1587" actId="478"/>
          <ac:cxnSpMkLst>
            <pc:docMk/>
            <pc:sldMk cId="436138604" sldId="403"/>
            <ac:cxnSpMk id="78" creationId="{3E15B6E4-4866-D752-2C9D-556E35B7A996}"/>
          </ac:cxnSpMkLst>
        </pc:cxnChg>
      </pc:sldChg>
      <pc:sldChg chg="addSp delSp modSp add mod delCm">
        <pc:chgData name="Maria Hortense Braz de Matos" userId="5bc5b675-87f3-446e-af61-8743361a8ab5" providerId="ADAL" clId="{4DD53DB0-9DE3-4862-9681-91E06199108A}" dt="2023-12-03T17:16:56.939" v="9126"/>
        <pc:sldMkLst>
          <pc:docMk/>
          <pc:sldMk cId="4179436917" sldId="404"/>
        </pc:sldMkLst>
        <pc:spChg chg="mod">
          <ac:chgData name="Maria Hortense Braz de Matos" userId="5bc5b675-87f3-446e-af61-8743361a8ab5" providerId="ADAL" clId="{4DD53DB0-9DE3-4862-9681-91E06199108A}" dt="2023-12-01T10:17:50.105" v="1616" actId="1036"/>
          <ac:spMkLst>
            <pc:docMk/>
            <pc:sldMk cId="4179436917" sldId="404"/>
            <ac:spMk id="15" creationId="{58118EE6-74C1-A239-EE56-A8DB42D40B4F}"/>
          </ac:spMkLst>
        </pc:spChg>
        <pc:spChg chg="mod">
          <ac:chgData name="Maria Hortense Braz de Matos" userId="5bc5b675-87f3-446e-af61-8743361a8ab5" providerId="ADAL" clId="{4DD53DB0-9DE3-4862-9681-91E06199108A}" dt="2023-12-01T19:39:31.656" v="6616" actId="207"/>
          <ac:spMkLst>
            <pc:docMk/>
            <pc:sldMk cId="4179436917" sldId="404"/>
            <ac:spMk id="17" creationId="{14E203C1-74A2-858D-86AF-CB0760C171E1}"/>
          </ac:spMkLst>
        </pc:spChg>
        <pc:spChg chg="mod">
          <ac:chgData name="Maria Hortense Braz de Matos" userId="5bc5b675-87f3-446e-af61-8743361a8ab5" providerId="ADAL" clId="{4DD53DB0-9DE3-4862-9681-91E06199108A}" dt="2023-12-01T10:17:50.105" v="1616" actId="1036"/>
          <ac:spMkLst>
            <pc:docMk/>
            <pc:sldMk cId="4179436917" sldId="404"/>
            <ac:spMk id="21" creationId="{3A5B20FE-2ACC-6025-3DE2-B740488B7FC8}"/>
          </ac:spMkLst>
        </pc:spChg>
        <pc:spChg chg="mod">
          <ac:chgData name="Maria Hortense Braz de Matos" userId="5bc5b675-87f3-446e-af61-8743361a8ab5" providerId="ADAL" clId="{4DD53DB0-9DE3-4862-9681-91E06199108A}" dt="2023-12-01T10:17:50.105" v="1616" actId="1036"/>
          <ac:spMkLst>
            <pc:docMk/>
            <pc:sldMk cId="4179436917" sldId="404"/>
            <ac:spMk id="22" creationId="{D0AA0C35-C388-3530-6AD7-A73AC5FB02FF}"/>
          </ac:spMkLst>
        </pc:spChg>
        <pc:spChg chg="del">
          <ac:chgData name="Maria Hortense Braz de Matos" userId="5bc5b675-87f3-446e-af61-8743361a8ab5" providerId="ADAL" clId="{4DD53DB0-9DE3-4862-9681-91E06199108A}" dt="2023-12-01T09:49:48.632" v="1193" actId="478"/>
          <ac:spMkLst>
            <pc:docMk/>
            <pc:sldMk cId="4179436917" sldId="404"/>
            <ac:spMk id="44" creationId="{8D754881-9F2C-1573-A4C3-CA7D528265BC}"/>
          </ac:spMkLst>
        </pc:spChg>
        <pc:spChg chg="mod">
          <ac:chgData name="Maria Hortense Braz de Matos" userId="5bc5b675-87f3-446e-af61-8743361a8ab5" providerId="ADAL" clId="{4DD53DB0-9DE3-4862-9681-91E06199108A}" dt="2023-12-01T10:17:50.105" v="1616" actId="1036"/>
          <ac:spMkLst>
            <pc:docMk/>
            <pc:sldMk cId="4179436917" sldId="404"/>
            <ac:spMk id="50" creationId="{A6618617-C9A5-34DC-F7DB-E9ACA54B58A0}"/>
          </ac:spMkLst>
        </pc:spChg>
        <pc:spChg chg="mod">
          <ac:chgData name="Maria Hortense Braz de Matos" userId="5bc5b675-87f3-446e-af61-8743361a8ab5" providerId="ADAL" clId="{4DD53DB0-9DE3-4862-9681-91E06199108A}" dt="2023-12-01T19:39:33.943" v="6617" actId="207"/>
          <ac:spMkLst>
            <pc:docMk/>
            <pc:sldMk cId="4179436917" sldId="404"/>
            <ac:spMk id="51" creationId="{BF8CB83B-37C6-A495-3F4E-B445644712AF}"/>
          </ac:spMkLst>
        </pc:spChg>
        <pc:spChg chg="mod">
          <ac:chgData name="Maria Hortense Braz de Matos" userId="5bc5b675-87f3-446e-af61-8743361a8ab5" providerId="ADAL" clId="{4DD53DB0-9DE3-4862-9681-91E06199108A}" dt="2023-12-01T10:17:50.105" v="1616" actId="1036"/>
          <ac:spMkLst>
            <pc:docMk/>
            <pc:sldMk cId="4179436917" sldId="404"/>
            <ac:spMk id="52" creationId="{3CFFCA32-A59B-ABFE-EF76-4DDBEB7AC693}"/>
          </ac:spMkLst>
        </pc:spChg>
        <pc:spChg chg="mod">
          <ac:chgData name="Maria Hortense Braz de Matos" userId="5bc5b675-87f3-446e-af61-8743361a8ab5" providerId="ADAL" clId="{4DD53DB0-9DE3-4862-9681-91E06199108A}" dt="2023-12-01T10:17:50.105" v="1616" actId="1036"/>
          <ac:spMkLst>
            <pc:docMk/>
            <pc:sldMk cId="4179436917" sldId="404"/>
            <ac:spMk id="53" creationId="{6B4D8E7A-1218-C28F-B53C-90D7868DF929}"/>
          </ac:spMkLst>
        </pc:spChg>
        <pc:spChg chg="mod">
          <ac:chgData name="Maria Hortense Braz de Matos" userId="5bc5b675-87f3-446e-af61-8743361a8ab5" providerId="ADAL" clId="{4DD53DB0-9DE3-4862-9681-91E06199108A}" dt="2023-12-01T10:17:50.105" v="1616" actId="1036"/>
          <ac:spMkLst>
            <pc:docMk/>
            <pc:sldMk cId="4179436917" sldId="404"/>
            <ac:spMk id="54" creationId="{8873C6D4-73C8-2E6F-BB3D-5EC3000EFCFB}"/>
          </ac:spMkLst>
        </pc:spChg>
        <pc:spChg chg="mod">
          <ac:chgData name="Maria Hortense Braz de Matos" userId="5bc5b675-87f3-446e-af61-8743361a8ab5" providerId="ADAL" clId="{4DD53DB0-9DE3-4862-9681-91E06199108A}" dt="2023-12-01T19:39:36.671" v="6618" actId="207"/>
          <ac:spMkLst>
            <pc:docMk/>
            <pc:sldMk cId="4179436917" sldId="404"/>
            <ac:spMk id="55" creationId="{811FD817-94B4-6B30-8909-7E478C1DAEDF}"/>
          </ac:spMkLst>
        </pc:spChg>
        <pc:spChg chg="mod">
          <ac:chgData name="Maria Hortense Braz de Matos" userId="5bc5b675-87f3-446e-af61-8743361a8ab5" providerId="ADAL" clId="{4DD53DB0-9DE3-4862-9681-91E06199108A}" dt="2023-12-01T10:17:50.105" v="1616" actId="1036"/>
          <ac:spMkLst>
            <pc:docMk/>
            <pc:sldMk cId="4179436917" sldId="404"/>
            <ac:spMk id="56" creationId="{0C04503F-F0F5-1D30-5F65-44CF9F96C7CD}"/>
          </ac:spMkLst>
        </pc:spChg>
        <pc:spChg chg="mod">
          <ac:chgData name="Maria Hortense Braz de Matos" userId="5bc5b675-87f3-446e-af61-8743361a8ab5" providerId="ADAL" clId="{4DD53DB0-9DE3-4862-9681-91E06199108A}" dt="2023-12-01T10:17:50.105" v="1616" actId="1036"/>
          <ac:spMkLst>
            <pc:docMk/>
            <pc:sldMk cId="4179436917" sldId="404"/>
            <ac:spMk id="57" creationId="{7D6D25B8-2FE6-5117-F767-E11448BFBCD4}"/>
          </ac:spMkLst>
        </pc:spChg>
        <pc:picChg chg="add mod">
          <ac:chgData name="Maria Hortense Braz de Matos" userId="5bc5b675-87f3-446e-af61-8743361a8ab5" providerId="ADAL" clId="{4DD53DB0-9DE3-4862-9681-91E06199108A}" dt="2023-12-01T10:17:35.915" v="1596"/>
          <ac:picMkLst>
            <pc:docMk/>
            <pc:sldMk cId="4179436917" sldId="404"/>
            <ac:picMk id="3" creationId="{4D3D801D-C399-3E60-576A-12E0D70913B0}"/>
          </ac:picMkLst>
        </pc:picChg>
        <pc:picChg chg="add del mod">
          <ac:chgData name="Maria Hortense Braz de Matos" userId="5bc5b675-87f3-446e-af61-8743361a8ab5" providerId="ADAL" clId="{4DD53DB0-9DE3-4862-9681-91E06199108A}" dt="2023-12-01T10:17:24.681" v="1592" actId="21"/>
          <ac:picMkLst>
            <pc:docMk/>
            <pc:sldMk cId="4179436917" sldId="404"/>
            <ac:picMk id="2050" creationId="{47BEFEAB-496B-46E3-22E3-3BE3A3CC42DC}"/>
          </ac:picMkLst>
        </pc:picChg>
        <pc:picChg chg="add del mod">
          <ac:chgData name="Maria Hortense Braz de Matos" userId="5bc5b675-87f3-446e-af61-8743361a8ab5" providerId="ADAL" clId="{4DD53DB0-9DE3-4862-9681-91E06199108A}" dt="2023-12-01T10:29:08.791" v="1702" actId="21"/>
          <ac:picMkLst>
            <pc:docMk/>
            <pc:sldMk cId="4179436917" sldId="404"/>
            <ac:picMk id="2052" creationId="{555D0BE5-8755-6C90-90B4-40CA3D75F7CC}"/>
          </ac:picMkLst>
        </pc:picChg>
      </pc:sldChg>
      <pc:sldChg chg="addSp delSp modSp add mod">
        <pc:chgData name="Maria Hortense Braz de Matos" userId="5bc5b675-87f3-446e-af61-8743361a8ab5" providerId="ADAL" clId="{4DD53DB0-9DE3-4862-9681-91E06199108A}" dt="2023-12-02T15:19:29.372" v="8186" actId="20577"/>
        <pc:sldMkLst>
          <pc:docMk/>
          <pc:sldMk cId="51664731" sldId="405"/>
        </pc:sldMkLst>
        <pc:spChg chg="add del mod">
          <ac:chgData name="Maria Hortense Braz de Matos" userId="5bc5b675-87f3-446e-af61-8743361a8ab5" providerId="ADAL" clId="{4DD53DB0-9DE3-4862-9681-91E06199108A}" dt="2023-12-01T19:00:57.848" v="6025" actId="478"/>
          <ac:spMkLst>
            <pc:docMk/>
            <pc:sldMk cId="51664731" sldId="405"/>
            <ac:spMk id="2" creationId="{C1FAEBCC-1F87-F498-26C3-D0C91D7420C2}"/>
          </ac:spMkLst>
        </pc:spChg>
        <pc:spChg chg="add del mod">
          <ac:chgData name="Maria Hortense Braz de Matos" userId="5bc5b675-87f3-446e-af61-8743361a8ab5" providerId="ADAL" clId="{4DD53DB0-9DE3-4862-9681-91E06199108A}" dt="2023-12-01T19:01:00.291" v="6026" actId="478"/>
          <ac:spMkLst>
            <pc:docMk/>
            <pc:sldMk cId="51664731" sldId="405"/>
            <ac:spMk id="3" creationId="{5C259768-B841-7BAB-9180-668B87C6A18A}"/>
          </ac:spMkLst>
        </pc:spChg>
        <pc:spChg chg="add del mod">
          <ac:chgData name="Maria Hortense Braz de Matos" userId="5bc5b675-87f3-446e-af61-8743361a8ab5" providerId="ADAL" clId="{4DD53DB0-9DE3-4862-9681-91E06199108A}" dt="2023-12-01T19:00:57.848" v="6025" actId="478"/>
          <ac:spMkLst>
            <pc:docMk/>
            <pc:sldMk cId="51664731" sldId="405"/>
            <ac:spMk id="4" creationId="{CD839B2A-D024-81D7-10C2-C82140E48330}"/>
          </ac:spMkLst>
        </pc:spChg>
        <pc:spChg chg="add del mod">
          <ac:chgData name="Maria Hortense Braz de Matos" userId="5bc5b675-87f3-446e-af61-8743361a8ab5" providerId="ADAL" clId="{4DD53DB0-9DE3-4862-9681-91E06199108A}" dt="2023-12-01T19:00:53.813" v="6024" actId="478"/>
          <ac:spMkLst>
            <pc:docMk/>
            <pc:sldMk cId="51664731" sldId="405"/>
            <ac:spMk id="5" creationId="{60CC4FC6-BEFB-8952-759C-5394B28A8DA6}"/>
          </ac:spMkLst>
        </pc:spChg>
        <pc:spChg chg="add del mod">
          <ac:chgData name="Maria Hortense Braz de Matos" userId="5bc5b675-87f3-446e-af61-8743361a8ab5" providerId="ADAL" clId="{4DD53DB0-9DE3-4862-9681-91E06199108A}" dt="2023-12-01T11:18:09.951" v="2868" actId="478"/>
          <ac:spMkLst>
            <pc:docMk/>
            <pc:sldMk cId="51664731" sldId="405"/>
            <ac:spMk id="5" creationId="{E8EE48E9-6EB5-5E4D-735D-6248C091E2C9}"/>
          </ac:spMkLst>
        </pc:spChg>
        <pc:spChg chg="mod">
          <ac:chgData name="Maria Hortense Braz de Matos" userId="5bc5b675-87f3-446e-af61-8743361a8ab5" providerId="ADAL" clId="{4DD53DB0-9DE3-4862-9681-91E06199108A}" dt="2023-12-02T15:19:29.372" v="8186" actId="20577"/>
          <ac:spMkLst>
            <pc:docMk/>
            <pc:sldMk cId="51664731" sldId="405"/>
            <ac:spMk id="6" creationId="{30C7E2AE-AEA0-D6E9-7253-4F9C0CE33169}"/>
          </ac:spMkLst>
        </pc:spChg>
        <pc:spChg chg="add mod ord">
          <ac:chgData name="Maria Hortense Braz de Matos" userId="5bc5b675-87f3-446e-af61-8743361a8ab5" providerId="ADAL" clId="{4DD53DB0-9DE3-4862-9681-91E06199108A}" dt="2023-12-01T18:52:21.596" v="5990" actId="207"/>
          <ac:spMkLst>
            <pc:docMk/>
            <pc:sldMk cId="51664731" sldId="405"/>
            <ac:spMk id="7" creationId="{ED2DFAB4-002E-E4F1-2271-B0FECC3377FB}"/>
          </ac:spMkLst>
        </pc:spChg>
        <pc:spChg chg="add del mod">
          <ac:chgData name="Maria Hortense Braz de Matos" userId="5bc5b675-87f3-446e-af61-8743361a8ab5" providerId="ADAL" clId="{4DD53DB0-9DE3-4862-9681-91E06199108A}" dt="2023-12-01T11:24:17.953" v="3026" actId="478"/>
          <ac:spMkLst>
            <pc:docMk/>
            <pc:sldMk cId="51664731" sldId="405"/>
            <ac:spMk id="8" creationId="{AAB5ED06-B1F2-5330-809F-1C1A9E201165}"/>
          </ac:spMkLst>
        </pc:spChg>
        <pc:spChg chg="del">
          <ac:chgData name="Maria Hortense Braz de Matos" userId="5bc5b675-87f3-446e-af61-8743361a8ab5" providerId="ADAL" clId="{4DD53DB0-9DE3-4862-9681-91E06199108A}" dt="2023-12-01T11:04:22.399" v="2637" actId="478"/>
          <ac:spMkLst>
            <pc:docMk/>
            <pc:sldMk cId="51664731" sldId="405"/>
            <ac:spMk id="9" creationId="{8DF37918-8726-3BD6-6B77-4AA2E48440FA}"/>
          </ac:spMkLst>
        </pc:spChg>
        <pc:spChg chg="del">
          <ac:chgData name="Maria Hortense Braz de Matos" userId="5bc5b675-87f3-446e-af61-8743361a8ab5" providerId="ADAL" clId="{4DD53DB0-9DE3-4862-9681-91E06199108A}" dt="2023-12-01T11:04:22.399" v="2637" actId="478"/>
          <ac:spMkLst>
            <pc:docMk/>
            <pc:sldMk cId="51664731" sldId="405"/>
            <ac:spMk id="12" creationId="{76BAA5AB-6950-11A1-9D39-C37F1320911B}"/>
          </ac:spMkLst>
        </pc:spChg>
        <pc:spChg chg="add del mod">
          <ac:chgData name="Maria Hortense Braz de Matos" userId="5bc5b675-87f3-446e-af61-8743361a8ab5" providerId="ADAL" clId="{4DD53DB0-9DE3-4862-9681-91E06199108A}" dt="2023-12-01T19:00:57.848" v="6025" actId="478"/>
          <ac:spMkLst>
            <pc:docMk/>
            <pc:sldMk cId="51664731" sldId="405"/>
            <ac:spMk id="13" creationId="{FBE3EE0A-A7FB-8ACB-BE89-0D4C5E70E0C9}"/>
          </ac:spMkLst>
        </pc:spChg>
        <pc:spChg chg="add del mod">
          <ac:chgData name="Maria Hortense Braz de Matos" userId="5bc5b675-87f3-446e-af61-8743361a8ab5" providerId="ADAL" clId="{4DD53DB0-9DE3-4862-9681-91E06199108A}" dt="2023-12-01T19:00:57.848" v="6025" actId="478"/>
          <ac:spMkLst>
            <pc:docMk/>
            <pc:sldMk cId="51664731" sldId="405"/>
            <ac:spMk id="14" creationId="{CE5FDF15-CF0F-89B3-5CFC-5EC4794950AE}"/>
          </ac:spMkLst>
        </pc:spChg>
        <pc:spChg chg="add mod">
          <ac:chgData name="Maria Hortense Braz de Matos" userId="5bc5b675-87f3-446e-af61-8743361a8ab5" providerId="ADAL" clId="{4DD53DB0-9DE3-4862-9681-91E06199108A}" dt="2023-12-02T15:19:09.878" v="8178" actId="14100"/>
          <ac:spMkLst>
            <pc:docMk/>
            <pc:sldMk cId="51664731" sldId="405"/>
            <ac:spMk id="23" creationId="{EEDF2067-710F-34C7-96FB-A6FD76E62304}"/>
          </ac:spMkLst>
        </pc:spChg>
        <pc:spChg chg="del">
          <ac:chgData name="Maria Hortense Braz de Matos" userId="5bc5b675-87f3-446e-af61-8743361a8ab5" providerId="ADAL" clId="{4DD53DB0-9DE3-4862-9681-91E06199108A}" dt="2023-12-01T11:04:22.399" v="2637" actId="478"/>
          <ac:spMkLst>
            <pc:docMk/>
            <pc:sldMk cId="51664731" sldId="405"/>
            <ac:spMk id="25" creationId="{C3A2D063-11E1-A5A1-DDA0-42EBE6078EAE}"/>
          </ac:spMkLst>
        </pc:spChg>
        <pc:spChg chg="mod">
          <ac:chgData name="Maria Hortense Braz de Matos" userId="5bc5b675-87f3-446e-af61-8743361a8ab5" providerId="ADAL" clId="{4DD53DB0-9DE3-4862-9681-91E06199108A}" dt="2023-12-02T15:18:52.846" v="8174" actId="1038"/>
          <ac:spMkLst>
            <pc:docMk/>
            <pc:sldMk cId="51664731" sldId="405"/>
            <ac:spMk id="3081" creationId="{71BB6D61-E2F2-07AA-6C37-F01F91BCF823}"/>
          </ac:spMkLst>
        </pc:spChg>
        <pc:spChg chg="mod">
          <ac:chgData name="Maria Hortense Braz de Matos" userId="5bc5b675-87f3-446e-af61-8743361a8ab5" providerId="ADAL" clId="{4DD53DB0-9DE3-4862-9681-91E06199108A}" dt="2023-12-02T15:18:52.846" v="8174" actId="1038"/>
          <ac:spMkLst>
            <pc:docMk/>
            <pc:sldMk cId="51664731" sldId="405"/>
            <ac:spMk id="3084" creationId="{CB1E09F1-534F-C4E9-A3AC-8B37414661CC}"/>
          </ac:spMkLst>
        </pc:spChg>
        <pc:spChg chg="mod">
          <ac:chgData name="Maria Hortense Braz de Matos" userId="5bc5b675-87f3-446e-af61-8743361a8ab5" providerId="ADAL" clId="{4DD53DB0-9DE3-4862-9681-91E06199108A}" dt="2023-12-02T15:17:18.954" v="8142" actId="554"/>
          <ac:spMkLst>
            <pc:docMk/>
            <pc:sldMk cId="51664731" sldId="405"/>
            <ac:spMk id="3085" creationId="{B8581D9E-09C7-82B1-4977-59BFAAFED35D}"/>
          </ac:spMkLst>
        </pc:spChg>
        <pc:graphicFrameChg chg="add del mod">
          <ac:chgData name="Maria Hortense Braz de Matos" userId="5bc5b675-87f3-446e-af61-8743361a8ab5" providerId="ADAL" clId="{4DD53DB0-9DE3-4862-9681-91E06199108A}" dt="2023-12-02T15:16:59.772" v="8138" actId="478"/>
          <ac:graphicFrameMkLst>
            <pc:docMk/>
            <pc:sldMk cId="51664731" sldId="405"/>
            <ac:graphicFrameMk id="2" creationId="{C6DAA111-33E8-7F70-5D31-9A7803AD147B}"/>
          </ac:graphicFrameMkLst>
        </pc:graphicFrameChg>
        <pc:graphicFrameChg chg="add mod">
          <ac:chgData name="Maria Hortense Braz de Matos" userId="5bc5b675-87f3-446e-af61-8743361a8ab5" providerId="ADAL" clId="{4DD53DB0-9DE3-4862-9681-91E06199108A}" dt="2023-12-02T15:17:41.070" v="8150" actId="404"/>
          <ac:graphicFrameMkLst>
            <pc:docMk/>
            <pc:sldMk cId="51664731" sldId="405"/>
            <ac:graphicFrameMk id="3" creationId="{C6DAA111-33E8-7F70-5D31-9A7803AD147B}"/>
          </ac:graphicFrameMkLst>
        </pc:graphicFrameChg>
        <pc:graphicFrameChg chg="add mod">
          <ac:chgData name="Maria Hortense Braz de Matos" userId="5bc5b675-87f3-446e-af61-8743361a8ab5" providerId="ADAL" clId="{4DD53DB0-9DE3-4862-9681-91E06199108A}" dt="2023-12-02T15:18:37.425" v="8162" actId="14100"/>
          <ac:graphicFrameMkLst>
            <pc:docMk/>
            <pc:sldMk cId="51664731" sldId="405"/>
            <ac:graphicFrameMk id="8" creationId="{66E08E3A-0516-39AB-1EDD-B1AA99ACF2C0}"/>
          </ac:graphicFrameMkLst>
        </pc:graphicFrameChg>
        <pc:graphicFrameChg chg="add mod">
          <ac:chgData name="Maria Hortense Braz de Matos" userId="5bc5b675-87f3-446e-af61-8743361a8ab5" providerId="ADAL" clId="{4DD53DB0-9DE3-4862-9681-91E06199108A}" dt="2023-12-02T15:18:14.376" v="8160" actId="14100"/>
          <ac:graphicFrameMkLst>
            <pc:docMk/>
            <pc:sldMk cId="51664731" sldId="405"/>
            <ac:graphicFrameMk id="10" creationId="{8708D5D6-CCDF-2B22-F6B4-2AE50296D7D0}"/>
          </ac:graphicFrameMkLst>
        </pc:graphicFrameChg>
        <pc:graphicFrameChg chg="add del mod">
          <ac:chgData name="Maria Hortense Braz de Matos" userId="5bc5b675-87f3-446e-af61-8743361a8ab5" providerId="ADAL" clId="{4DD53DB0-9DE3-4862-9681-91E06199108A}" dt="2023-12-02T15:09:16.189" v="7947" actId="478"/>
          <ac:graphicFrameMkLst>
            <pc:docMk/>
            <pc:sldMk cId="51664731" sldId="405"/>
            <ac:graphicFrameMk id="11" creationId="{24FB72B5-30DD-1977-127B-19656D47D487}"/>
          </ac:graphicFrameMkLst>
        </pc:graphicFrameChg>
        <pc:graphicFrameChg chg="add del mod modGraphic">
          <ac:chgData name="Maria Hortense Braz de Matos" userId="5bc5b675-87f3-446e-af61-8743361a8ab5" providerId="ADAL" clId="{4DD53DB0-9DE3-4862-9681-91E06199108A}" dt="2023-12-02T15:17:36.794" v="8148" actId="403"/>
          <ac:graphicFrameMkLst>
            <pc:docMk/>
            <pc:sldMk cId="51664731" sldId="405"/>
            <ac:graphicFrameMk id="18" creationId="{E4506EBB-CD67-6218-D23A-33F9E401DE28}"/>
          </ac:graphicFrameMkLst>
        </pc:graphicFrameChg>
        <pc:graphicFrameChg chg="del">
          <ac:chgData name="Maria Hortense Braz de Matos" userId="5bc5b675-87f3-446e-af61-8743361a8ab5" providerId="ADAL" clId="{4DD53DB0-9DE3-4862-9681-91E06199108A}" dt="2023-12-01T11:04:22.399" v="2637" actId="478"/>
          <ac:graphicFrameMkLst>
            <pc:docMk/>
            <pc:sldMk cId="51664731" sldId="405"/>
            <ac:graphicFrameMk id="26" creationId="{0F8CC64E-C4C5-E669-8827-6526EF1EC332}"/>
          </ac:graphicFrameMkLst>
        </pc:graphicFrameChg>
        <pc:graphicFrameChg chg="del">
          <ac:chgData name="Maria Hortense Braz de Matos" userId="5bc5b675-87f3-446e-af61-8743361a8ab5" providerId="ADAL" clId="{4DD53DB0-9DE3-4862-9681-91E06199108A}" dt="2023-12-01T11:04:22.399" v="2637" actId="478"/>
          <ac:graphicFrameMkLst>
            <pc:docMk/>
            <pc:sldMk cId="51664731" sldId="405"/>
            <ac:graphicFrameMk id="27" creationId="{CFD9DF28-3750-4A2D-2F81-477161B50BAF}"/>
          </ac:graphicFrameMkLst>
        </pc:graphicFrameChg>
        <pc:picChg chg="del">
          <ac:chgData name="Maria Hortense Braz de Matos" userId="5bc5b675-87f3-446e-af61-8743361a8ab5" providerId="ADAL" clId="{4DD53DB0-9DE3-4862-9681-91E06199108A}" dt="2023-12-01T11:04:22.399" v="2637" actId="478"/>
          <ac:picMkLst>
            <pc:docMk/>
            <pc:sldMk cId="51664731" sldId="405"/>
            <ac:picMk id="19" creationId="{965F84CA-7EA8-7B3A-7A06-B3A34FCE8B4D}"/>
          </ac:picMkLst>
        </pc:picChg>
        <pc:picChg chg="del">
          <ac:chgData name="Maria Hortense Braz de Matos" userId="5bc5b675-87f3-446e-af61-8743361a8ab5" providerId="ADAL" clId="{4DD53DB0-9DE3-4862-9681-91E06199108A}" dt="2023-12-01T11:04:22.399" v="2637" actId="478"/>
          <ac:picMkLst>
            <pc:docMk/>
            <pc:sldMk cId="51664731" sldId="405"/>
            <ac:picMk id="22" creationId="{B2778033-D633-FA57-4A52-B600FC15AA5F}"/>
          </ac:picMkLst>
        </pc:picChg>
        <pc:picChg chg="add del mod">
          <ac:chgData name="Maria Hortense Braz de Matos" userId="5bc5b675-87f3-446e-af61-8743361a8ab5" providerId="ADAL" clId="{4DD53DB0-9DE3-4862-9681-91E06199108A}" dt="2023-12-01T11:19:09.622" v="2879" actId="478"/>
          <ac:picMkLst>
            <pc:docMk/>
            <pc:sldMk cId="51664731" sldId="405"/>
            <ac:picMk id="4098" creationId="{763733C2-86EB-C683-03D1-0D4B9ED36DAF}"/>
          </ac:picMkLst>
        </pc:picChg>
        <pc:picChg chg="add del mod">
          <ac:chgData name="Maria Hortense Braz de Matos" userId="5bc5b675-87f3-446e-af61-8743361a8ab5" providerId="ADAL" clId="{4DD53DB0-9DE3-4862-9681-91E06199108A}" dt="2023-12-01T11:19:51.095" v="2883" actId="478"/>
          <ac:picMkLst>
            <pc:docMk/>
            <pc:sldMk cId="51664731" sldId="405"/>
            <ac:picMk id="4100" creationId="{F62F0AAE-72E7-57FC-CFFB-349FB90587FC}"/>
          </ac:picMkLst>
        </pc:picChg>
        <pc:picChg chg="add del mod">
          <ac:chgData name="Maria Hortense Braz de Matos" userId="5bc5b675-87f3-446e-af61-8743361a8ab5" providerId="ADAL" clId="{4DD53DB0-9DE3-4862-9681-91E06199108A}" dt="2023-12-01T11:27:10.646" v="3037" actId="478"/>
          <ac:picMkLst>
            <pc:docMk/>
            <pc:sldMk cId="51664731" sldId="405"/>
            <ac:picMk id="4102" creationId="{294E3FA0-6A7A-DB43-F37B-A57DB06409B8}"/>
          </ac:picMkLst>
        </pc:picChg>
        <pc:cxnChg chg="add del mod">
          <ac:chgData name="Maria Hortense Braz de Matos" userId="5bc5b675-87f3-446e-af61-8743361a8ab5" providerId="ADAL" clId="{4DD53DB0-9DE3-4862-9681-91E06199108A}" dt="2023-12-01T19:00:57.848" v="6025" actId="478"/>
          <ac:cxnSpMkLst>
            <pc:docMk/>
            <pc:sldMk cId="51664731" sldId="405"/>
            <ac:cxnSpMk id="17" creationId="{DBF70E09-0EDB-7684-DB43-7B68115EC48E}"/>
          </ac:cxnSpMkLst>
        </pc:cxnChg>
      </pc:sldChg>
      <pc:sldChg chg="modSp add del mod">
        <pc:chgData name="Maria Hortense Braz de Matos" userId="5bc5b675-87f3-446e-af61-8743361a8ab5" providerId="ADAL" clId="{4DD53DB0-9DE3-4862-9681-91E06199108A}" dt="2023-12-01T10:16:03.713" v="1588" actId="47"/>
        <pc:sldMkLst>
          <pc:docMk/>
          <pc:sldMk cId="1457006814" sldId="405"/>
        </pc:sldMkLst>
        <pc:spChg chg="mod">
          <ac:chgData name="Maria Hortense Braz de Matos" userId="5bc5b675-87f3-446e-af61-8743361a8ab5" providerId="ADAL" clId="{4DD53DB0-9DE3-4862-9681-91E06199108A}" dt="2023-12-01T09:58:19.089" v="1321" actId="1076"/>
          <ac:spMkLst>
            <pc:docMk/>
            <pc:sldMk cId="1457006814" sldId="405"/>
            <ac:spMk id="58" creationId="{2934C959-4A25-8519-0640-739D7551E33E}"/>
          </ac:spMkLst>
        </pc:spChg>
        <pc:spChg chg="mod">
          <ac:chgData name="Maria Hortense Braz de Matos" userId="5bc5b675-87f3-446e-af61-8743361a8ab5" providerId="ADAL" clId="{4DD53DB0-9DE3-4862-9681-91E06199108A}" dt="2023-12-01T09:58:19.089" v="1321" actId="1076"/>
          <ac:spMkLst>
            <pc:docMk/>
            <pc:sldMk cId="1457006814" sldId="405"/>
            <ac:spMk id="59" creationId="{E2091110-A89E-6F79-468C-96835B5E7516}"/>
          </ac:spMkLst>
        </pc:spChg>
        <pc:spChg chg="mod">
          <ac:chgData name="Maria Hortense Braz de Matos" userId="5bc5b675-87f3-446e-af61-8743361a8ab5" providerId="ADAL" clId="{4DD53DB0-9DE3-4862-9681-91E06199108A}" dt="2023-12-01T09:58:19.089" v="1321" actId="1076"/>
          <ac:spMkLst>
            <pc:docMk/>
            <pc:sldMk cId="1457006814" sldId="405"/>
            <ac:spMk id="60" creationId="{3D47395C-AD96-0391-D3BB-2C9B01CC519D}"/>
          </ac:spMkLst>
        </pc:spChg>
        <pc:spChg chg="mod">
          <ac:chgData name="Maria Hortense Braz de Matos" userId="5bc5b675-87f3-446e-af61-8743361a8ab5" providerId="ADAL" clId="{4DD53DB0-9DE3-4862-9681-91E06199108A}" dt="2023-12-01T09:58:19.089" v="1321" actId="1076"/>
          <ac:spMkLst>
            <pc:docMk/>
            <pc:sldMk cId="1457006814" sldId="405"/>
            <ac:spMk id="61" creationId="{9FA0BD40-17FE-5B1F-5316-AE91EAB8B1F9}"/>
          </ac:spMkLst>
        </pc:spChg>
        <pc:spChg chg="mod">
          <ac:chgData name="Maria Hortense Braz de Matos" userId="5bc5b675-87f3-446e-af61-8743361a8ab5" providerId="ADAL" clId="{4DD53DB0-9DE3-4862-9681-91E06199108A}" dt="2023-12-01T09:58:13.366" v="1320" actId="14100"/>
          <ac:spMkLst>
            <pc:docMk/>
            <pc:sldMk cId="1457006814" sldId="405"/>
            <ac:spMk id="62" creationId="{FBE2C0AD-7C55-9DFA-57DD-4246D3B6124D}"/>
          </ac:spMkLst>
        </pc:spChg>
        <pc:spChg chg="mod">
          <ac:chgData name="Maria Hortense Braz de Matos" userId="5bc5b675-87f3-446e-af61-8743361a8ab5" providerId="ADAL" clId="{4DD53DB0-9DE3-4862-9681-91E06199108A}" dt="2023-12-01T09:58:33.118" v="1324" actId="14100"/>
          <ac:spMkLst>
            <pc:docMk/>
            <pc:sldMk cId="1457006814" sldId="405"/>
            <ac:spMk id="67" creationId="{EA908AD1-C6D6-221A-2342-6833B82ECB02}"/>
          </ac:spMkLst>
        </pc:spChg>
        <pc:spChg chg="mod">
          <ac:chgData name="Maria Hortense Braz de Matos" userId="5bc5b675-87f3-446e-af61-8743361a8ab5" providerId="ADAL" clId="{4DD53DB0-9DE3-4862-9681-91E06199108A}" dt="2023-12-01T10:02:45.280" v="1350" actId="1076"/>
          <ac:spMkLst>
            <pc:docMk/>
            <pc:sldMk cId="1457006814" sldId="405"/>
            <ac:spMk id="69" creationId="{3B42895E-0EE5-E927-1572-D1541D581EFF}"/>
          </ac:spMkLst>
        </pc:spChg>
        <pc:graphicFrameChg chg="mod">
          <ac:chgData name="Maria Hortense Braz de Matos" userId="5bc5b675-87f3-446e-af61-8743361a8ab5" providerId="ADAL" clId="{4DD53DB0-9DE3-4862-9681-91E06199108A}" dt="2023-12-01T09:58:22.240" v="1322" actId="1076"/>
          <ac:graphicFrameMkLst>
            <pc:docMk/>
            <pc:sldMk cId="1457006814" sldId="405"/>
            <ac:graphicFrameMk id="63" creationId="{CDC5BF55-8325-131A-784F-B2180F478444}"/>
          </ac:graphicFrameMkLst>
        </pc:graphicFrameChg>
        <pc:picChg chg="mod">
          <ac:chgData name="Maria Hortense Braz de Matos" userId="5bc5b675-87f3-446e-af61-8743361a8ab5" providerId="ADAL" clId="{4DD53DB0-9DE3-4862-9681-91E06199108A}" dt="2023-12-01T09:58:35.306" v="1325" actId="1076"/>
          <ac:picMkLst>
            <pc:docMk/>
            <pc:sldMk cId="1457006814" sldId="405"/>
            <ac:picMk id="66" creationId="{415E3BE2-6B37-A2FF-CAD3-867E635952E4}"/>
          </ac:picMkLst>
        </pc:picChg>
      </pc:sldChg>
      <pc:sldChg chg="modSp add del mod">
        <pc:chgData name="Maria Hortense Braz de Matos" userId="5bc5b675-87f3-446e-af61-8743361a8ab5" providerId="ADAL" clId="{4DD53DB0-9DE3-4862-9681-91E06199108A}" dt="2023-12-01T10:16:05.278" v="1589" actId="47"/>
        <pc:sldMkLst>
          <pc:docMk/>
          <pc:sldMk cId="1980585712" sldId="406"/>
        </pc:sldMkLst>
        <pc:spChg chg="mod">
          <ac:chgData name="Maria Hortense Braz de Matos" userId="5bc5b675-87f3-446e-af61-8743361a8ab5" providerId="ADAL" clId="{4DD53DB0-9DE3-4862-9681-91E06199108A}" dt="2023-12-01T09:59:04.646" v="1331" actId="1076"/>
          <ac:spMkLst>
            <pc:docMk/>
            <pc:sldMk cId="1980585712" sldId="406"/>
            <ac:spMk id="69" creationId="{3B42895E-0EE5-E927-1572-D1541D581EFF}"/>
          </ac:spMkLst>
        </pc:spChg>
        <pc:picChg chg="mod">
          <ac:chgData name="Maria Hortense Braz de Matos" userId="5bc5b675-87f3-446e-af61-8743361a8ab5" providerId="ADAL" clId="{4DD53DB0-9DE3-4862-9681-91E06199108A}" dt="2023-12-01T10:00:07.075" v="1338" actId="1076"/>
          <ac:picMkLst>
            <pc:docMk/>
            <pc:sldMk cId="1980585712" sldId="406"/>
            <ac:picMk id="66" creationId="{415E3BE2-6B37-A2FF-CAD3-867E635952E4}"/>
          </ac:picMkLst>
        </pc:picChg>
      </pc:sldChg>
      <pc:sldChg chg="addSp delSp modSp add mod">
        <pc:chgData name="Maria Hortense Braz de Matos" userId="5bc5b675-87f3-446e-af61-8743361a8ab5" providerId="ADAL" clId="{4DD53DB0-9DE3-4862-9681-91E06199108A}" dt="2023-12-03T17:32:09.603" v="9420" actId="33524"/>
        <pc:sldMkLst>
          <pc:docMk/>
          <pc:sldMk cId="2926278344" sldId="406"/>
        </pc:sldMkLst>
        <pc:spChg chg="add mod">
          <ac:chgData name="Maria Hortense Braz de Matos" userId="5bc5b675-87f3-446e-af61-8743361a8ab5" providerId="ADAL" clId="{4DD53DB0-9DE3-4862-9681-91E06199108A}" dt="2023-12-01T19:06:52.177" v="6065" actId="1076"/>
          <ac:spMkLst>
            <pc:docMk/>
            <pc:sldMk cId="2926278344" sldId="406"/>
            <ac:spMk id="3" creationId="{0E582A0A-F10C-1C74-51F5-7E70D024CBA9}"/>
          </ac:spMkLst>
        </pc:spChg>
        <pc:spChg chg="mod">
          <ac:chgData name="Maria Hortense Braz de Matos" userId="5bc5b675-87f3-446e-af61-8743361a8ab5" providerId="ADAL" clId="{4DD53DB0-9DE3-4862-9681-91E06199108A}" dt="2023-12-03T17:32:09.603" v="9420" actId="33524"/>
          <ac:spMkLst>
            <pc:docMk/>
            <pc:sldMk cId="2926278344" sldId="406"/>
            <ac:spMk id="6" creationId="{30C7E2AE-AEA0-D6E9-7253-4F9C0CE33169}"/>
          </ac:spMkLst>
        </pc:spChg>
        <pc:spChg chg="add mod">
          <ac:chgData name="Maria Hortense Braz de Matos" userId="5bc5b675-87f3-446e-af61-8743361a8ab5" providerId="ADAL" clId="{4DD53DB0-9DE3-4862-9681-91E06199108A}" dt="2023-12-03T16:56:43.108" v="8882" actId="108"/>
          <ac:spMkLst>
            <pc:docMk/>
            <pc:sldMk cId="2926278344" sldId="406"/>
            <ac:spMk id="8" creationId="{39C0940A-7D2E-55BD-8F57-446B10716D50}"/>
          </ac:spMkLst>
        </pc:spChg>
        <pc:spChg chg="add mod">
          <ac:chgData name="Maria Hortense Braz de Matos" userId="5bc5b675-87f3-446e-af61-8743361a8ab5" providerId="ADAL" clId="{4DD53DB0-9DE3-4862-9681-91E06199108A}" dt="2023-12-03T16:49:45.706" v="8801" actId="113"/>
          <ac:spMkLst>
            <pc:docMk/>
            <pc:sldMk cId="2926278344" sldId="406"/>
            <ac:spMk id="9" creationId="{53C50722-9EBD-A82C-85B5-A0C8CF48730C}"/>
          </ac:spMkLst>
        </pc:spChg>
        <pc:spChg chg="del">
          <ac:chgData name="Maria Hortense Braz de Matos" userId="5bc5b675-87f3-446e-af61-8743361a8ab5" providerId="ADAL" clId="{4DD53DB0-9DE3-4862-9681-91E06199108A}" dt="2023-12-01T11:52:16.154" v="3628" actId="478"/>
          <ac:spMkLst>
            <pc:docMk/>
            <pc:sldMk cId="2926278344" sldId="406"/>
            <ac:spMk id="9" creationId="{8DF37918-8726-3BD6-6B77-4AA2E48440FA}"/>
          </ac:spMkLst>
        </pc:spChg>
        <pc:spChg chg="add mod">
          <ac:chgData name="Maria Hortense Braz de Matos" userId="5bc5b675-87f3-446e-af61-8743361a8ab5" providerId="ADAL" clId="{4DD53DB0-9DE3-4862-9681-91E06199108A}" dt="2023-12-03T16:44:12.093" v="8696" actId="693"/>
          <ac:spMkLst>
            <pc:docMk/>
            <pc:sldMk cId="2926278344" sldId="406"/>
            <ac:spMk id="10" creationId="{35DBB741-3B43-7A06-B665-FB78D6E37924}"/>
          </ac:spMkLst>
        </pc:spChg>
        <pc:spChg chg="del">
          <ac:chgData name="Maria Hortense Braz de Matos" userId="5bc5b675-87f3-446e-af61-8743361a8ab5" providerId="ADAL" clId="{4DD53DB0-9DE3-4862-9681-91E06199108A}" dt="2023-12-01T11:52:16.154" v="3628" actId="478"/>
          <ac:spMkLst>
            <pc:docMk/>
            <pc:sldMk cId="2926278344" sldId="406"/>
            <ac:spMk id="12" creationId="{76BAA5AB-6950-11A1-9D39-C37F1320911B}"/>
          </ac:spMkLst>
        </pc:spChg>
        <pc:spChg chg="add mod">
          <ac:chgData name="Maria Hortense Braz de Matos" userId="5bc5b675-87f3-446e-af61-8743361a8ab5" providerId="ADAL" clId="{4DD53DB0-9DE3-4862-9681-91E06199108A}" dt="2023-12-03T16:44:58.607" v="8707" actId="14100"/>
          <ac:spMkLst>
            <pc:docMk/>
            <pc:sldMk cId="2926278344" sldId="406"/>
            <ac:spMk id="13" creationId="{F405EAD3-934F-51D7-FF3D-6080FEB7CB4F}"/>
          </ac:spMkLst>
        </pc:spChg>
        <pc:spChg chg="mod">
          <ac:chgData name="Maria Hortense Braz de Matos" userId="5bc5b675-87f3-446e-af61-8743361a8ab5" providerId="ADAL" clId="{4DD53DB0-9DE3-4862-9681-91E06199108A}" dt="2023-12-01T11:00:09.595" v="2636" actId="27636"/>
          <ac:spMkLst>
            <pc:docMk/>
            <pc:sldMk cId="2926278344" sldId="406"/>
            <ac:spMk id="16" creationId="{DF29E7B4-6607-540B-2D74-612452C5FB5A}"/>
          </ac:spMkLst>
        </pc:spChg>
        <pc:spChg chg="del">
          <ac:chgData name="Maria Hortense Braz de Matos" userId="5bc5b675-87f3-446e-af61-8743361a8ab5" providerId="ADAL" clId="{4DD53DB0-9DE3-4862-9681-91E06199108A}" dt="2023-12-01T11:52:16.154" v="3628" actId="478"/>
          <ac:spMkLst>
            <pc:docMk/>
            <pc:sldMk cId="2926278344" sldId="406"/>
            <ac:spMk id="25" creationId="{C3A2D063-11E1-A5A1-DDA0-42EBE6078EAE}"/>
          </ac:spMkLst>
        </pc:spChg>
        <pc:spChg chg="add mod">
          <ac:chgData name="Maria Hortense Braz de Matos" userId="5bc5b675-87f3-446e-af61-8743361a8ab5" providerId="ADAL" clId="{4DD53DB0-9DE3-4862-9681-91E06199108A}" dt="2023-12-03T16:53:21.432" v="8830" actId="1076"/>
          <ac:spMkLst>
            <pc:docMk/>
            <pc:sldMk cId="2926278344" sldId="406"/>
            <ac:spMk id="27" creationId="{A29C6E46-4BD7-F573-F563-6F48D70253CF}"/>
          </ac:spMkLst>
        </pc:spChg>
        <pc:spChg chg="del mod">
          <ac:chgData name="Maria Hortense Braz de Matos" userId="5bc5b675-87f3-446e-af61-8743361a8ab5" providerId="ADAL" clId="{4DD53DB0-9DE3-4862-9681-91E06199108A}" dt="2023-12-01T12:38:25.755" v="3702" actId="478"/>
          <ac:spMkLst>
            <pc:docMk/>
            <pc:sldMk cId="2926278344" sldId="406"/>
            <ac:spMk id="3081" creationId="{71BB6D61-E2F2-07AA-6C37-F01F91BCF823}"/>
          </ac:spMkLst>
        </pc:spChg>
        <pc:spChg chg="del mod">
          <ac:chgData name="Maria Hortense Braz de Matos" userId="5bc5b675-87f3-446e-af61-8743361a8ab5" providerId="ADAL" clId="{4DD53DB0-9DE3-4862-9681-91E06199108A}" dt="2023-12-01T12:38:20.383" v="3700" actId="478"/>
          <ac:spMkLst>
            <pc:docMk/>
            <pc:sldMk cId="2926278344" sldId="406"/>
            <ac:spMk id="3084" creationId="{CB1E09F1-534F-C4E9-A3AC-8B37414661CC}"/>
          </ac:spMkLst>
        </pc:spChg>
        <pc:spChg chg="del mod">
          <ac:chgData name="Maria Hortense Braz de Matos" userId="5bc5b675-87f3-446e-af61-8743361a8ab5" providerId="ADAL" clId="{4DD53DB0-9DE3-4862-9681-91E06199108A}" dt="2023-12-01T12:38:22.486" v="3701" actId="478"/>
          <ac:spMkLst>
            <pc:docMk/>
            <pc:sldMk cId="2926278344" sldId="406"/>
            <ac:spMk id="3085" creationId="{B8581D9E-09C7-82B1-4977-59BFAAFED35D}"/>
          </ac:spMkLst>
        </pc:spChg>
        <pc:graphicFrameChg chg="add mod">
          <ac:chgData name="Maria Hortense Braz de Matos" userId="5bc5b675-87f3-446e-af61-8743361a8ab5" providerId="ADAL" clId="{4DD53DB0-9DE3-4862-9681-91E06199108A}" dt="2023-12-03T16:42:28.795" v="8664" actId="1076"/>
          <ac:graphicFrameMkLst>
            <pc:docMk/>
            <pc:sldMk cId="2926278344" sldId="406"/>
            <ac:graphicFrameMk id="2" creationId="{29BE2812-98AF-AC1B-14D4-FBC1F3129ED3}"/>
          </ac:graphicFrameMkLst>
        </pc:graphicFrameChg>
        <pc:graphicFrameChg chg="add del mod">
          <ac:chgData name="Maria Hortense Braz de Matos" userId="5bc5b675-87f3-446e-af61-8743361a8ab5" providerId="ADAL" clId="{4DD53DB0-9DE3-4862-9681-91E06199108A}" dt="2023-12-01T19:05:58.086" v="6054" actId="478"/>
          <ac:graphicFrameMkLst>
            <pc:docMk/>
            <pc:sldMk cId="2926278344" sldId="406"/>
            <ac:graphicFrameMk id="2" creationId="{BA548208-E0C1-98D0-FC38-F86C22FD910D}"/>
          </ac:graphicFrameMkLst>
        </pc:graphicFrameChg>
        <pc:graphicFrameChg chg="add del mod">
          <ac:chgData name="Maria Hortense Braz de Matos" userId="5bc5b675-87f3-446e-af61-8743361a8ab5" providerId="ADAL" clId="{4DD53DB0-9DE3-4862-9681-91E06199108A}" dt="2023-12-01T19:05:52.181" v="6053" actId="478"/>
          <ac:graphicFrameMkLst>
            <pc:docMk/>
            <pc:sldMk cId="2926278344" sldId="406"/>
            <ac:graphicFrameMk id="4" creationId="{0B691CC9-2781-4ADD-ECC1-D6792EC0567C}"/>
          </ac:graphicFrameMkLst>
        </pc:graphicFrameChg>
        <pc:graphicFrameChg chg="add mod">
          <ac:chgData name="Maria Hortense Braz de Matos" userId="5bc5b675-87f3-446e-af61-8743361a8ab5" providerId="ADAL" clId="{4DD53DB0-9DE3-4862-9681-91E06199108A}" dt="2023-12-03T16:42:31.343" v="8665" actId="1076"/>
          <ac:graphicFrameMkLst>
            <pc:docMk/>
            <pc:sldMk cId="2926278344" sldId="406"/>
            <ac:graphicFrameMk id="4" creationId="{B1473ED6-A707-29F9-0533-9E4A3E817740}"/>
          </ac:graphicFrameMkLst>
        </pc:graphicFrameChg>
        <pc:graphicFrameChg chg="add del mod">
          <ac:chgData name="Maria Hortense Braz de Matos" userId="5bc5b675-87f3-446e-af61-8743361a8ab5" providerId="ADAL" clId="{4DD53DB0-9DE3-4862-9681-91E06199108A}" dt="2023-12-02T15:02:32.277" v="7917" actId="478"/>
          <ac:graphicFrameMkLst>
            <pc:docMk/>
            <pc:sldMk cId="2926278344" sldId="406"/>
            <ac:graphicFrameMk id="5" creationId="{29BE2812-98AF-AC1B-14D4-FBC1F3129ED3}"/>
          </ac:graphicFrameMkLst>
        </pc:graphicFrameChg>
        <pc:graphicFrameChg chg="add del mod">
          <ac:chgData name="Maria Hortense Braz de Matos" userId="5bc5b675-87f3-446e-af61-8743361a8ab5" providerId="ADAL" clId="{4DD53DB0-9DE3-4862-9681-91E06199108A}" dt="2023-12-02T15:03:52.123" v="7933" actId="478"/>
          <ac:graphicFrameMkLst>
            <pc:docMk/>
            <pc:sldMk cId="2926278344" sldId="406"/>
            <ac:graphicFrameMk id="7" creationId="{B1473ED6-A707-29F9-0533-9E4A3E817740}"/>
          </ac:graphicFrameMkLst>
        </pc:graphicFrameChg>
        <pc:graphicFrameChg chg="del">
          <ac:chgData name="Maria Hortense Braz de Matos" userId="5bc5b675-87f3-446e-af61-8743361a8ab5" providerId="ADAL" clId="{4DD53DB0-9DE3-4862-9681-91E06199108A}" dt="2023-12-01T12:27:30.856" v="3637" actId="478"/>
          <ac:graphicFrameMkLst>
            <pc:docMk/>
            <pc:sldMk cId="2926278344" sldId="406"/>
            <ac:graphicFrameMk id="26" creationId="{0F8CC64E-C4C5-E669-8827-6526EF1EC332}"/>
          </ac:graphicFrameMkLst>
        </pc:graphicFrameChg>
        <pc:graphicFrameChg chg="del">
          <ac:chgData name="Maria Hortense Braz de Matos" userId="5bc5b675-87f3-446e-af61-8743361a8ab5" providerId="ADAL" clId="{4DD53DB0-9DE3-4862-9681-91E06199108A}" dt="2023-12-01T12:27:30.020" v="3636" actId="478"/>
          <ac:graphicFrameMkLst>
            <pc:docMk/>
            <pc:sldMk cId="2926278344" sldId="406"/>
            <ac:graphicFrameMk id="27" creationId="{CFD9DF28-3750-4A2D-2F81-477161B50BAF}"/>
          </ac:graphicFrameMkLst>
        </pc:graphicFrameChg>
        <pc:picChg chg="mod">
          <ac:chgData name="Maria Hortense Braz de Matos" userId="5bc5b675-87f3-446e-af61-8743361a8ab5" providerId="ADAL" clId="{4DD53DB0-9DE3-4862-9681-91E06199108A}" dt="2023-12-03T16:42:15.588" v="8661" actId="14100"/>
          <ac:picMkLst>
            <pc:docMk/>
            <pc:sldMk cId="2926278344" sldId="406"/>
            <ac:picMk id="5" creationId="{31A74BA4-9153-A510-CDD4-3F93BA78C6AB}"/>
          </ac:picMkLst>
        </pc:picChg>
        <pc:picChg chg="del">
          <ac:chgData name="Maria Hortense Braz de Matos" userId="5bc5b675-87f3-446e-af61-8743361a8ab5" providerId="ADAL" clId="{4DD53DB0-9DE3-4862-9681-91E06199108A}" dt="2023-12-01T11:52:16.154" v="3628" actId="478"/>
          <ac:picMkLst>
            <pc:docMk/>
            <pc:sldMk cId="2926278344" sldId="406"/>
            <ac:picMk id="19" creationId="{965F84CA-7EA8-7B3A-7A06-B3A34FCE8B4D}"/>
          </ac:picMkLst>
        </pc:picChg>
        <pc:picChg chg="del">
          <ac:chgData name="Maria Hortense Braz de Matos" userId="5bc5b675-87f3-446e-af61-8743361a8ab5" providerId="ADAL" clId="{4DD53DB0-9DE3-4862-9681-91E06199108A}" dt="2023-12-01T11:52:16.154" v="3628" actId="478"/>
          <ac:picMkLst>
            <pc:docMk/>
            <pc:sldMk cId="2926278344" sldId="406"/>
            <ac:picMk id="22" creationId="{B2778033-D633-FA57-4A52-B600FC15AA5F}"/>
          </ac:picMkLst>
        </pc:picChg>
        <pc:cxnChg chg="add mod">
          <ac:chgData name="Maria Hortense Braz de Matos" userId="5bc5b675-87f3-446e-af61-8743361a8ab5" providerId="ADAL" clId="{4DD53DB0-9DE3-4862-9681-91E06199108A}" dt="2023-12-03T16:45:54.445" v="8713" actId="14100"/>
          <ac:cxnSpMkLst>
            <pc:docMk/>
            <pc:sldMk cId="2926278344" sldId="406"/>
            <ac:cxnSpMk id="12" creationId="{09C231E0-D778-F360-C8DD-DA58A0A28464}"/>
          </ac:cxnSpMkLst>
        </pc:cxnChg>
        <pc:cxnChg chg="add mod">
          <ac:chgData name="Maria Hortense Braz de Matos" userId="5bc5b675-87f3-446e-af61-8743361a8ab5" providerId="ADAL" clId="{4DD53DB0-9DE3-4862-9681-91E06199108A}" dt="2023-12-03T16:46:01.855" v="8714" actId="14100"/>
          <ac:cxnSpMkLst>
            <pc:docMk/>
            <pc:sldMk cId="2926278344" sldId="406"/>
            <ac:cxnSpMk id="14" creationId="{4092828A-2BDA-282F-2175-43AD66302B7B}"/>
          </ac:cxnSpMkLst>
        </pc:cxnChg>
        <pc:cxnChg chg="add del mod">
          <ac:chgData name="Maria Hortense Braz de Matos" userId="5bc5b675-87f3-446e-af61-8743361a8ab5" providerId="ADAL" clId="{4DD53DB0-9DE3-4862-9681-91E06199108A}" dt="2023-12-03T16:50:29.986" v="8808" actId="478"/>
          <ac:cxnSpMkLst>
            <pc:docMk/>
            <pc:sldMk cId="2926278344" sldId="406"/>
            <ac:cxnSpMk id="22" creationId="{FFFF0A45-892A-F419-081C-A55C98454BC6}"/>
          </ac:cxnSpMkLst>
        </pc:cxnChg>
        <pc:cxnChg chg="add del">
          <ac:chgData name="Maria Hortense Braz de Matos" userId="5bc5b675-87f3-446e-af61-8743361a8ab5" providerId="ADAL" clId="{4DD53DB0-9DE3-4862-9681-91E06199108A}" dt="2023-12-03T16:52:53.575" v="8826" actId="478"/>
          <ac:cxnSpMkLst>
            <pc:docMk/>
            <pc:sldMk cId="2926278344" sldId="406"/>
            <ac:cxnSpMk id="26" creationId="{B3A2A28F-6420-BF75-D3D8-75DC3B618C4F}"/>
          </ac:cxnSpMkLst>
        </pc:cxnChg>
        <pc:cxnChg chg="add del mod">
          <ac:chgData name="Maria Hortense Braz de Matos" userId="5bc5b675-87f3-446e-af61-8743361a8ab5" providerId="ADAL" clId="{4DD53DB0-9DE3-4862-9681-91E06199108A}" dt="2023-12-03T16:54:58.485" v="8839" actId="478"/>
          <ac:cxnSpMkLst>
            <pc:docMk/>
            <pc:sldMk cId="2926278344" sldId="406"/>
            <ac:cxnSpMk id="28" creationId="{4868A05A-C78F-5E8F-5821-7F94518E06ED}"/>
          </ac:cxnSpMkLst>
        </pc:cxnChg>
        <pc:cxnChg chg="add mod">
          <ac:chgData name="Maria Hortense Braz de Matos" userId="5bc5b675-87f3-446e-af61-8743361a8ab5" providerId="ADAL" clId="{4DD53DB0-9DE3-4862-9681-91E06199108A}" dt="2023-12-03T16:55:13.399" v="8842" actId="14100"/>
          <ac:cxnSpMkLst>
            <pc:docMk/>
            <pc:sldMk cId="2926278344" sldId="406"/>
            <ac:cxnSpMk id="31" creationId="{86861E0E-BBF0-FF3B-DC32-A459D52FAE20}"/>
          </ac:cxnSpMkLst>
        </pc:cxnChg>
        <pc:cxnChg chg="add del mod">
          <ac:chgData name="Maria Hortense Braz de Matos" userId="5bc5b675-87f3-446e-af61-8743361a8ab5" providerId="ADAL" clId="{4DD53DB0-9DE3-4862-9681-91E06199108A}" dt="2023-12-03T16:57:11.407" v="8886" actId="478"/>
          <ac:cxnSpMkLst>
            <pc:docMk/>
            <pc:sldMk cId="2926278344" sldId="406"/>
            <ac:cxnSpMk id="33" creationId="{6E9B9E04-A5AB-7786-EF04-55BC8EB21724}"/>
          </ac:cxnSpMkLst>
        </pc:cxnChg>
      </pc:sldChg>
      <pc:sldChg chg="modSp del mod">
        <pc:chgData name="Maria Hortense Braz de Matos" userId="5bc5b675-87f3-446e-af61-8743361a8ab5" providerId="ADAL" clId="{4DD53DB0-9DE3-4862-9681-91E06199108A}" dt="2023-12-01T19:38:55.019" v="6615" actId="47"/>
        <pc:sldMkLst>
          <pc:docMk/>
          <pc:sldMk cId="1388663887" sldId="407"/>
        </pc:sldMkLst>
        <pc:spChg chg="mod">
          <ac:chgData name="Maria Hortense Braz de Matos" userId="5bc5b675-87f3-446e-af61-8743361a8ab5" providerId="ADAL" clId="{4DD53DB0-9DE3-4862-9681-91E06199108A}" dt="2023-12-01T13:18:19.318" v="3951" actId="6549"/>
          <ac:spMkLst>
            <pc:docMk/>
            <pc:sldMk cId="1388663887" sldId="407"/>
            <ac:spMk id="4" creationId="{69623466-91AF-822C-7900-42D70C694D7E}"/>
          </ac:spMkLst>
        </pc:spChg>
        <pc:spChg chg="mod">
          <ac:chgData name="Maria Hortense Braz de Matos" userId="5bc5b675-87f3-446e-af61-8743361a8ab5" providerId="ADAL" clId="{4DD53DB0-9DE3-4862-9681-91E06199108A}" dt="2023-12-01T18:35:01.515" v="5942" actId="14100"/>
          <ac:spMkLst>
            <pc:docMk/>
            <pc:sldMk cId="1388663887" sldId="407"/>
            <ac:spMk id="6" creationId="{79CA3511-C50B-4811-D22F-721555BD92E6}"/>
          </ac:spMkLst>
        </pc:spChg>
      </pc:sldChg>
      <pc:sldChg chg="delSp modSp add del">
        <pc:chgData name="Maria Hortense Braz de Matos" userId="5bc5b675-87f3-446e-af61-8743361a8ab5" providerId="ADAL" clId="{4DD53DB0-9DE3-4862-9681-91E06199108A}" dt="2023-12-01T12:49:31.425" v="3871" actId="47"/>
        <pc:sldMkLst>
          <pc:docMk/>
          <pc:sldMk cId="2200217266" sldId="408"/>
        </pc:sldMkLst>
        <pc:picChg chg="mod">
          <ac:chgData name="Maria Hortense Braz de Matos" userId="5bc5b675-87f3-446e-af61-8743361a8ab5" providerId="ADAL" clId="{4DD53DB0-9DE3-4862-9681-91E06199108A}" dt="2023-12-01T12:48:34.163" v="3867" actId="1076"/>
          <ac:picMkLst>
            <pc:docMk/>
            <pc:sldMk cId="2200217266" sldId="408"/>
            <ac:picMk id="5130" creationId="{119B105F-EE8A-6E84-EE0A-F42CAE9F8442}"/>
          </ac:picMkLst>
        </pc:picChg>
        <pc:picChg chg="del">
          <ac:chgData name="Maria Hortense Braz de Matos" userId="5bc5b675-87f3-446e-af61-8743361a8ab5" providerId="ADAL" clId="{4DD53DB0-9DE3-4862-9681-91E06199108A}" dt="2023-12-01T12:48:31.322" v="3866" actId="478"/>
          <ac:picMkLst>
            <pc:docMk/>
            <pc:sldMk cId="2200217266" sldId="408"/>
            <ac:picMk id="5132" creationId="{0047C250-324A-B893-975C-4D646576D760}"/>
          </ac:picMkLst>
        </pc:picChg>
      </pc:sldChg>
      <pc:sldChg chg="addSp delSp modSp add mod modAnim">
        <pc:chgData name="Maria Hortense Braz de Matos" userId="5bc5b675-87f3-446e-af61-8743361a8ab5" providerId="ADAL" clId="{4DD53DB0-9DE3-4862-9681-91E06199108A}" dt="2023-12-03T17:18:47.729" v="9138"/>
        <pc:sldMkLst>
          <pc:docMk/>
          <pc:sldMk cId="3379930669" sldId="408"/>
        </pc:sldMkLst>
        <pc:spChg chg="del">
          <ac:chgData name="Maria Hortense Braz de Matos" userId="5bc5b675-87f3-446e-af61-8743361a8ab5" providerId="ADAL" clId="{4DD53DB0-9DE3-4862-9681-91E06199108A}" dt="2023-12-01T13:19:46.023" v="3959" actId="478"/>
          <ac:spMkLst>
            <pc:docMk/>
            <pc:sldMk cId="3379930669" sldId="408"/>
            <ac:spMk id="2" creationId="{9B3305F2-A761-C066-1E4A-8C3A39B252A1}"/>
          </ac:spMkLst>
        </pc:spChg>
        <pc:spChg chg="add mod">
          <ac:chgData name="Maria Hortense Braz de Matos" userId="5bc5b675-87f3-446e-af61-8743361a8ab5" providerId="ADAL" clId="{4DD53DB0-9DE3-4862-9681-91E06199108A}" dt="2023-12-01T14:37:06.385" v="5836" actId="20577"/>
          <ac:spMkLst>
            <pc:docMk/>
            <pc:sldMk cId="3379930669" sldId="408"/>
            <ac:spMk id="8" creationId="{173BBD2E-E4C2-9722-E574-202844E7EBB4}"/>
          </ac:spMkLst>
        </pc:spChg>
        <pc:spChg chg="add del mod">
          <ac:chgData name="Maria Hortense Braz de Matos" userId="5bc5b675-87f3-446e-af61-8743361a8ab5" providerId="ADAL" clId="{4DD53DB0-9DE3-4862-9681-91E06199108A}" dt="2023-12-01T14:06:36.992" v="4857" actId="21"/>
          <ac:spMkLst>
            <pc:docMk/>
            <pc:sldMk cId="3379930669" sldId="408"/>
            <ac:spMk id="9" creationId="{1F9FEC48-DB4C-301A-5607-47092941FFBB}"/>
          </ac:spMkLst>
        </pc:spChg>
        <pc:spChg chg="add del mod ord">
          <ac:chgData name="Maria Hortense Braz de Matos" userId="5bc5b675-87f3-446e-af61-8743361a8ab5" providerId="ADAL" clId="{4DD53DB0-9DE3-4862-9681-91E06199108A}" dt="2023-12-01T14:09:24.773" v="4891" actId="478"/>
          <ac:spMkLst>
            <pc:docMk/>
            <pc:sldMk cId="3379930669" sldId="408"/>
            <ac:spMk id="10" creationId="{DDB9B181-863B-4570-6208-E7D1D88336DF}"/>
          </ac:spMkLst>
        </pc:spChg>
        <pc:graphicFrameChg chg="mod modGraphic">
          <ac:chgData name="Maria Hortense Braz de Matos" userId="5bc5b675-87f3-446e-af61-8743361a8ab5" providerId="ADAL" clId="{4DD53DB0-9DE3-4862-9681-91E06199108A}" dt="2023-12-03T16:34:30.354" v="8487"/>
          <ac:graphicFrameMkLst>
            <pc:docMk/>
            <pc:sldMk cId="3379930669" sldId="408"/>
            <ac:graphicFrameMk id="5" creationId="{AD0E971A-8557-4A32-A366-1CA56DBC0090}"/>
          </ac:graphicFrameMkLst>
        </pc:graphicFrameChg>
        <pc:picChg chg="add mod">
          <ac:chgData name="Maria Hortense Braz de Matos" userId="5bc5b675-87f3-446e-af61-8743361a8ab5" providerId="ADAL" clId="{4DD53DB0-9DE3-4862-9681-91E06199108A}" dt="2023-12-03T16:33:25.241" v="8477" actId="14100"/>
          <ac:picMkLst>
            <pc:docMk/>
            <pc:sldMk cId="3379930669" sldId="408"/>
            <ac:picMk id="3" creationId="{05C37C03-6A8A-795C-2AC7-0341E8D3C5ED}"/>
          </ac:picMkLst>
        </pc:picChg>
        <pc:picChg chg="add del mod">
          <ac:chgData name="Maria Hortense Braz de Matos" userId="5bc5b675-87f3-446e-af61-8743361a8ab5" providerId="ADAL" clId="{4DD53DB0-9DE3-4862-9681-91E06199108A}" dt="2023-12-01T13:20:12.233" v="3963" actId="478"/>
          <ac:picMkLst>
            <pc:docMk/>
            <pc:sldMk cId="3379930669" sldId="408"/>
            <ac:picMk id="6" creationId="{E9856B76-3B1A-2D62-FF99-92707641C5DB}"/>
          </ac:picMkLst>
        </pc:picChg>
        <pc:picChg chg="add del mod">
          <ac:chgData name="Maria Hortense Braz de Matos" userId="5bc5b675-87f3-446e-af61-8743361a8ab5" providerId="ADAL" clId="{4DD53DB0-9DE3-4862-9681-91E06199108A}" dt="2023-12-01T13:20:13.148" v="3964" actId="478"/>
          <ac:picMkLst>
            <pc:docMk/>
            <pc:sldMk cId="3379930669" sldId="408"/>
            <ac:picMk id="7" creationId="{B6B8CE41-C79E-9E83-F7A6-75FA963D93DD}"/>
          </ac:picMkLst>
        </pc:picChg>
      </pc:sldChg>
      <pc:sldChg chg="addSp delSp modSp add mod modAnim">
        <pc:chgData name="Maria Hortense Braz de Matos" userId="5bc5b675-87f3-446e-af61-8743361a8ab5" providerId="ADAL" clId="{4DD53DB0-9DE3-4862-9681-91E06199108A}" dt="2023-12-03T17:18:52.537" v="9139"/>
        <pc:sldMkLst>
          <pc:docMk/>
          <pc:sldMk cId="1558287448" sldId="409"/>
        </pc:sldMkLst>
        <pc:spChg chg="add del">
          <ac:chgData name="Maria Hortense Braz de Matos" userId="5bc5b675-87f3-446e-af61-8743361a8ab5" providerId="ADAL" clId="{4DD53DB0-9DE3-4862-9681-91E06199108A}" dt="2023-12-01T13:39:01.647" v="4079" actId="478"/>
          <ac:spMkLst>
            <pc:docMk/>
            <pc:sldMk cId="1558287448" sldId="409"/>
            <ac:spMk id="8" creationId="{EB7CA3A0-E06A-DBD6-D7F4-C200AFD5BEF9}"/>
          </ac:spMkLst>
        </pc:spChg>
        <pc:spChg chg="add mod">
          <ac:chgData name="Maria Hortense Braz de Matos" userId="5bc5b675-87f3-446e-af61-8743361a8ab5" providerId="ADAL" clId="{4DD53DB0-9DE3-4862-9681-91E06199108A}" dt="2023-12-01T13:38:45.753" v="4075" actId="6549"/>
          <ac:spMkLst>
            <pc:docMk/>
            <pc:sldMk cId="1558287448" sldId="409"/>
            <ac:spMk id="9" creationId="{9A723E1C-CD00-5920-F343-D74DDB710318}"/>
          </ac:spMkLst>
        </pc:spChg>
        <pc:spChg chg="add del mod ord">
          <ac:chgData name="Maria Hortense Braz de Matos" userId="5bc5b675-87f3-446e-af61-8743361a8ab5" providerId="ADAL" clId="{4DD53DB0-9DE3-4862-9681-91E06199108A}" dt="2023-12-01T14:06:52.730" v="4862" actId="21"/>
          <ac:spMkLst>
            <pc:docMk/>
            <pc:sldMk cId="1558287448" sldId="409"/>
            <ac:spMk id="10" creationId="{843983CF-9FCD-B08A-9CA0-A702CE687DC6}"/>
          </ac:spMkLst>
        </pc:spChg>
        <pc:spChg chg="add del mod ord">
          <ac:chgData name="Maria Hortense Braz de Matos" userId="5bc5b675-87f3-446e-af61-8743361a8ab5" providerId="ADAL" clId="{4DD53DB0-9DE3-4862-9681-91E06199108A}" dt="2023-12-01T14:09:15.280" v="4890" actId="478"/>
          <ac:spMkLst>
            <pc:docMk/>
            <pc:sldMk cId="1558287448" sldId="409"/>
            <ac:spMk id="11" creationId="{7F621524-3A31-C053-A250-B3FBC4637A4B}"/>
          </ac:spMkLst>
        </pc:spChg>
        <pc:graphicFrameChg chg="mod modGraphic">
          <ac:chgData name="Maria Hortense Braz de Matos" userId="5bc5b675-87f3-446e-af61-8743361a8ab5" providerId="ADAL" clId="{4DD53DB0-9DE3-4862-9681-91E06199108A}" dt="2023-12-03T16:34:11.562" v="8485"/>
          <ac:graphicFrameMkLst>
            <pc:docMk/>
            <pc:sldMk cId="1558287448" sldId="409"/>
            <ac:graphicFrameMk id="5" creationId="{AD0E971A-8557-4A32-A366-1CA56DBC0090}"/>
          </ac:graphicFrameMkLst>
        </pc:graphicFrameChg>
        <pc:picChg chg="del">
          <ac:chgData name="Maria Hortense Braz de Matos" userId="5bc5b675-87f3-446e-af61-8743361a8ab5" providerId="ADAL" clId="{4DD53DB0-9DE3-4862-9681-91E06199108A}" dt="2023-12-01T13:20:16.200" v="3965" actId="478"/>
          <ac:picMkLst>
            <pc:docMk/>
            <pc:sldMk cId="1558287448" sldId="409"/>
            <ac:picMk id="3" creationId="{05C37C03-6A8A-795C-2AC7-0341E8D3C5ED}"/>
          </ac:picMkLst>
        </pc:picChg>
        <pc:picChg chg="mod">
          <ac:chgData name="Maria Hortense Braz de Matos" userId="5bc5b675-87f3-446e-af61-8743361a8ab5" providerId="ADAL" clId="{4DD53DB0-9DE3-4862-9681-91E06199108A}" dt="2023-12-03T16:35:17.592" v="8497" actId="1076"/>
          <ac:picMkLst>
            <pc:docMk/>
            <pc:sldMk cId="1558287448" sldId="409"/>
            <ac:picMk id="6" creationId="{E9856B76-3B1A-2D62-FF99-92707641C5DB}"/>
          </ac:picMkLst>
        </pc:picChg>
        <pc:picChg chg="del">
          <ac:chgData name="Maria Hortense Braz de Matos" userId="5bc5b675-87f3-446e-af61-8743361a8ab5" providerId="ADAL" clId="{4DD53DB0-9DE3-4862-9681-91E06199108A}" dt="2023-12-01T13:20:17.164" v="3966" actId="478"/>
          <ac:picMkLst>
            <pc:docMk/>
            <pc:sldMk cId="1558287448" sldId="409"/>
            <ac:picMk id="7" creationId="{B6B8CE41-C79E-9E83-F7A6-75FA963D93DD}"/>
          </ac:picMkLst>
        </pc:picChg>
      </pc:sldChg>
      <pc:sldChg chg="delSp add del">
        <pc:chgData name="Maria Hortense Braz de Matos" userId="5bc5b675-87f3-446e-af61-8743361a8ab5" providerId="ADAL" clId="{4DD53DB0-9DE3-4862-9681-91E06199108A}" dt="2023-12-01T14:33:46.033" v="5751" actId="47"/>
        <pc:sldMkLst>
          <pc:docMk/>
          <pc:sldMk cId="327228309" sldId="410"/>
        </pc:sldMkLst>
        <pc:picChg chg="del">
          <ac:chgData name="Maria Hortense Braz de Matos" userId="5bc5b675-87f3-446e-af61-8743361a8ab5" providerId="ADAL" clId="{4DD53DB0-9DE3-4862-9681-91E06199108A}" dt="2023-12-01T13:20:20.719" v="3968" actId="478"/>
          <ac:picMkLst>
            <pc:docMk/>
            <pc:sldMk cId="327228309" sldId="410"/>
            <ac:picMk id="3" creationId="{05C37C03-6A8A-795C-2AC7-0341E8D3C5ED}"/>
          </ac:picMkLst>
        </pc:picChg>
        <pc:picChg chg="del">
          <ac:chgData name="Maria Hortense Braz de Matos" userId="5bc5b675-87f3-446e-af61-8743361a8ab5" providerId="ADAL" clId="{4DD53DB0-9DE3-4862-9681-91E06199108A}" dt="2023-12-01T13:20:19.810" v="3967" actId="478"/>
          <ac:picMkLst>
            <pc:docMk/>
            <pc:sldMk cId="327228309" sldId="410"/>
            <ac:picMk id="6" creationId="{E9856B76-3B1A-2D62-FF99-92707641C5DB}"/>
          </ac:picMkLst>
        </pc:picChg>
        <pc:picChg chg="del">
          <ac:chgData name="Maria Hortense Braz de Matos" userId="5bc5b675-87f3-446e-af61-8743361a8ab5" providerId="ADAL" clId="{4DD53DB0-9DE3-4862-9681-91E06199108A}" dt="2023-12-01T14:12:07.463" v="4957" actId="478"/>
          <ac:picMkLst>
            <pc:docMk/>
            <pc:sldMk cId="327228309" sldId="410"/>
            <ac:picMk id="7" creationId="{B6B8CE41-C79E-9E83-F7A6-75FA963D93DD}"/>
          </ac:picMkLst>
        </pc:picChg>
      </pc:sldChg>
      <pc:sldChg chg="addSp delSp modSp add mod ord modAnim">
        <pc:chgData name="Maria Hortense Braz de Matos" userId="5bc5b675-87f3-446e-af61-8743361a8ab5" providerId="ADAL" clId="{4DD53DB0-9DE3-4862-9681-91E06199108A}" dt="2023-12-03T17:18:57.414" v="9140"/>
        <pc:sldMkLst>
          <pc:docMk/>
          <pc:sldMk cId="2783384388" sldId="411"/>
        </pc:sldMkLst>
        <pc:spChg chg="add del mod ord">
          <ac:chgData name="Maria Hortense Braz de Matos" userId="5bc5b675-87f3-446e-af61-8743361a8ab5" providerId="ADAL" clId="{4DD53DB0-9DE3-4862-9681-91E06199108A}" dt="2023-12-01T14:09:05.936" v="4888" actId="478"/>
          <ac:spMkLst>
            <pc:docMk/>
            <pc:sldMk cId="2783384388" sldId="411"/>
            <ac:spMk id="2" creationId="{5834BD3B-BE4A-89FE-D448-1B3C8E8DA3FD}"/>
          </ac:spMkLst>
        </pc:spChg>
        <pc:spChg chg="add del mod ord">
          <ac:chgData name="Maria Hortense Braz de Matos" userId="5bc5b675-87f3-446e-af61-8743361a8ab5" providerId="ADAL" clId="{4DD53DB0-9DE3-4862-9681-91E06199108A}" dt="2023-12-01T14:09:09.917" v="4889" actId="478"/>
          <ac:spMkLst>
            <pc:docMk/>
            <pc:sldMk cId="2783384388" sldId="411"/>
            <ac:spMk id="3" creationId="{DFC50903-DC0F-8142-D915-299599AC4402}"/>
          </ac:spMkLst>
        </pc:spChg>
        <pc:spChg chg="add mod">
          <ac:chgData name="Maria Hortense Braz de Matos" userId="5bc5b675-87f3-446e-af61-8743361a8ab5" providerId="ADAL" clId="{4DD53DB0-9DE3-4862-9681-91E06199108A}" dt="2023-12-01T14:36:07.988" v="5793" actId="20577"/>
          <ac:spMkLst>
            <pc:docMk/>
            <pc:sldMk cId="2783384388" sldId="411"/>
            <ac:spMk id="6" creationId="{E262389E-5914-C425-3248-32672440DBC1}"/>
          </ac:spMkLst>
        </pc:spChg>
        <pc:graphicFrameChg chg="mod modGraphic">
          <ac:chgData name="Maria Hortense Braz de Matos" userId="5bc5b675-87f3-446e-af61-8743361a8ab5" providerId="ADAL" clId="{4DD53DB0-9DE3-4862-9681-91E06199108A}" dt="2023-12-03T16:35:09.616" v="8495"/>
          <ac:graphicFrameMkLst>
            <pc:docMk/>
            <pc:sldMk cId="2783384388" sldId="411"/>
            <ac:graphicFrameMk id="5" creationId="{AD0E971A-8557-4A32-A366-1CA56DBC0090}"/>
          </ac:graphicFrameMkLst>
        </pc:graphicFrameChg>
        <pc:picChg chg="mod">
          <ac:chgData name="Maria Hortense Braz de Matos" userId="5bc5b675-87f3-446e-af61-8743361a8ab5" providerId="ADAL" clId="{4DD53DB0-9DE3-4862-9681-91E06199108A}" dt="2023-12-03T16:34:47.476" v="8489" actId="14100"/>
          <ac:picMkLst>
            <pc:docMk/>
            <pc:sldMk cId="2783384388" sldId="411"/>
            <ac:picMk id="7" creationId="{B6B8CE41-C79E-9E83-F7A6-75FA963D93DD}"/>
          </ac:picMkLst>
        </pc:picChg>
      </pc:sldChg>
      <pc:sldChg chg="addSp delSp modSp add del mod modCm">
        <pc:chgData name="Maria Hortense Braz de Matos" userId="5bc5b675-87f3-446e-af61-8743361a8ab5" providerId="ADAL" clId="{4DD53DB0-9DE3-4862-9681-91E06199108A}" dt="2023-12-03T16:58:42.211" v="8898" actId="47"/>
        <pc:sldMkLst>
          <pc:docMk/>
          <pc:sldMk cId="3533080913" sldId="412"/>
        </pc:sldMkLst>
        <pc:spChg chg="mod">
          <ac:chgData name="Maria Hortense Braz de Matos" userId="5bc5b675-87f3-446e-af61-8743361a8ab5" providerId="ADAL" clId="{4DD53DB0-9DE3-4862-9681-91E06199108A}" dt="2023-12-01T19:38:52.498" v="6614" actId="13926"/>
          <ac:spMkLst>
            <pc:docMk/>
            <pc:sldMk cId="3533080913" sldId="412"/>
            <ac:spMk id="3" creationId="{98EA4056-DE24-2AE4-D369-2A4586722488}"/>
          </ac:spMkLst>
        </pc:spChg>
        <pc:spChg chg="add mod">
          <ac:chgData name="Maria Hortense Braz de Matos" userId="5bc5b675-87f3-446e-af61-8743361a8ab5" providerId="ADAL" clId="{4DD53DB0-9DE3-4862-9681-91E06199108A}" dt="2023-12-02T15:24:01.060" v="8194" actId="1076"/>
          <ac:spMkLst>
            <pc:docMk/>
            <pc:sldMk cId="3533080913" sldId="412"/>
            <ac:spMk id="5" creationId="{811F3422-71BB-A629-01DF-445ECAFBBB3F}"/>
          </ac:spMkLst>
        </pc:spChg>
        <pc:spChg chg="mod">
          <ac:chgData name="Maria Hortense Braz de Matos" userId="5bc5b675-87f3-446e-af61-8743361a8ab5" providerId="ADAL" clId="{4DD53DB0-9DE3-4862-9681-91E06199108A}" dt="2023-12-02T15:23:54.121" v="8193" actId="1076"/>
          <ac:spMkLst>
            <pc:docMk/>
            <pc:sldMk cId="3533080913" sldId="412"/>
            <ac:spMk id="7" creationId="{80E48CC2-03B3-97B4-77F5-08B0B7EC5839}"/>
          </ac:spMkLst>
        </pc:spChg>
        <pc:spChg chg="mod">
          <ac:chgData name="Maria Hortense Braz de Matos" userId="5bc5b675-87f3-446e-af61-8743361a8ab5" providerId="ADAL" clId="{4DD53DB0-9DE3-4862-9681-91E06199108A}" dt="2023-12-02T15:23:54.121" v="8193" actId="1076"/>
          <ac:spMkLst>
            <pc:docMk/>
            <pc:sldMk cId="3533080913" sldId="412"/>
            <ac:spMk id="8" creationId="{57F82214-0BF1-31AD-3ED7-EF8E2BEAC4C5}"/>
          </ac:spMkLst>
        </pc:spChg>
        <pc:spChg chg="mod">
          <ac:chgData name="Maria Hortense Braz de Matos" userId="5bc5b675-87f3-446e-af61-8743361a8ab5" providerId="ADAL" clId="{4DD53DB0-9DE3-4862-9681-91E06199108A}" dt="2023-12-02T15:23:54.121" v="8193" actId="1076"/>
          <ac:spMkLst>
            <pc:docMk/>
            <pc:sldMk cId="3533080913" sldId="412"/>
            <ac:spMk id="9" creationId="{7C30CBD1-319F-B9AD-1020-96449A7C787B}"/>
          </ac:spMkLst>
        </pc:spChg>
        <pc:spChg chg="add mod">
          <ac:chgData name="Maria Hortense Braz de Matos" userId="5bc5b675-87f3-446e-af61-8743361a8ab5" providerId="ADAL" clId="{4DD53DB0-9DE3-4862-9681-91E06199108A}" dt="2023-12-02T15:24:01.060" v="8194" actId="1076"/>
          <ac:spMkLst>
            <pc:docMk/>
            <pc:sldMk cId="3533080913" sldId="412"/>
            <ac:spMk id="10" creationId="{1E52209E-90B8-DCEA-A93C-0C5D2EAFA14C}"/>
          </ac:spMkLst>
        </pc:spChg>
        <pc:spChg chg="add mod">
          <ac:chgData name="Maria Hortense Braz de Matos" userId="5bc5b675-87f3-446e-af61-8743361a8ab5" providerId="ADAL" clId="{4DD53DB0-9DE3-4862-9681-91E06199108A}" dt="2023-12-02T15:24:01.060" v="8194" actId="1076"/>
          <ac:spMkLst>
            <pc:docMk/>
            <pc:sldMk cId="3533080913" sldId="412"/>
            <ac:spMk id="11" creationId="{D9AEC155-229F-B02F-7142-0F7EA9F95CF0}"/>
          </ac:spMkLst>
        </pc:spChg>
        <pc:spChg chg="add mod">
          <ac:chgData name="Maria Hortense Braz de Matos" userId="5bc5b675-87f3-446e-af61-8743361a8ab5" providerId="ADAL" clId="{4DD53DB0-9DE3-4862-9681-91E06199108A}" dt="2023-12-02T15:24:01.060" v="8194" actId="1076"/>
          <ac:spMkLst>
            <pc:docMk/>
            <pc:sldMk cId="3533080913" sldId="412"/>
            <ac:spMk id="12" creationId="{F22AAA1E-4374-DC1A-A1F5-7A17BE415BED}"/>
          </ac:spMkLst>
        </pc:spChg>
        <pc:graphicFrameChg chg="add mod modGraphic">
          <ac:chgData name="Maria Hortense Braz de Matos" userId="5bc5b675-87f3-446e-af61-8743361a8ab5" providerId="ADAL" clId="{4DD53DB0-9DE3-4862-9681-91E06199108A}" dt="2023-12-02T15:24:01.060" v="8194" actId="1076"/>
          <ac:graphicFrameMkLst>
            <pc:docMk/>
            <pc:sldMk cId="3533080913" sldId="412"/>
            <ac:graphicFrameMk id="2" creationId="{06DF4279-45A6-7AD2-E1A1-2228FCDC62E9}"/>
          </ac:graphicFrameMkLst>
        </pc:graphicFrameChg>
        <pc:picChg chg="add del mod">
          <ac:chgData name="Maria Hortense Braz de Matos" userId="5bc5b675-87f3-446e-af61-8743361a8ab5" providerId="ADAL" clId="{4DD53DB0-9DE3-4862-9681-91E06199108A}" dt="2023-12-01T19:45:27.342" v="6752" actId="478"/>
          <ac:picMkLst>
            <pc:docMk/>
            <pc:sldMk cId="3533080913" sldId="412"/>
            <ac:picMk id="1026" creationId="{87A82AD5-3F65-2DA2-BA39-F5D9B57FBEF4}"/>
          </ac:picMkLst>
        </pc:picChg>
      </pc:sldChg>
      <pc:sldChg chg="addSp delSp modSp new mod ord modClrScheme delCm modCm chgLayout">
        <pc:chgData name="Maria Hortense Braz de Matos" userId="5bc5b675-87f3-446e-af61-8743361a8ab5" providerId="ADAL" clId="{4DD53DB0-9DE3-4862-9681-91E06199108A}" dt="2023-12-03T17:18:21.978" v="9137"/>
        <pc:sldMkLst>
          <pc:docMk/>
          <pc:sldMk cId="634489375" sldId="413"/>
        </pc:sldMkLst>
        <pc:spChg chg="del mod ord">
          <ac:chgData name="Maria Hortense Braz de Matos" userId="5bc5b675-87f3-446e-af61-8743361a8ab5" providerId="ADAL" clId="{4DD53DB0-9DE3-4862-9681-91E06199108A}" dt="2023-12-01T19:37:24.323" v="6575" actId="700"/>
          <ac:spMkLst>
            <pc:docMk/>
            <pc:sldMk cId="634489375" sldId="413"/>
            <ac:spMk id="2" creationId="{9ED790C9-4AA2-FE11-B355-958C5990D2C2}"/>
          </ac:spMkLst>
        </pc:spChg>
        <pc:spChg chg="mod">
          <ac:chgData name="Maria Hortense Braz de Matos" userId="5bc5b675-87f3-446e-af61-8743361a8ab5" providerId="ADAL" clId="{4DD53DB0-9DE3-4862-9681-91E06199108A}" dt="2023-12-03T16:26:39.911" v="8449" actId="554"/>
          <ac:spMkLst>
            <pc:docMk/>
            <pc:sldMk cId="634489375" sldId="413"/>
            <ac:spMk id="3" creationId="{9224C284-5C92-1823-AE50-E325A8799A62}"/>
          </ac:spMkLst>
        </pc:spChg>
        <pc:spChg chg="del">
          <ac:chgData name="Maria Hortense Braz de Matos" userId="5bc5b675-87f3-446e-af61-8743361a8ab5" providerId="ADAL" clId="{4DD53DB0-9DE3-4862-9681-91E06199108A}" dt="2023-12-01T19:37:24.323" v="6575" actId="700"/>
          <ac:spMkLst>
            <pc:docMk/>
            <pc:sldMk cId="634489375" sldId="413"/>
            <ac:spMk id="3" creationId="{ADCD9C87-42E9-42E1-8AC3-04CEA7380C3E}"/>
          </ac:spMkLst>
        </pc:spChg>
        <pc:spChg chg="add del mod ord">
          <ac:chgData name="Maria Hortense Braz de Matos" userId="5bc5b675-87f3-446e-af61-8743361a8ab5" providerId="ADAL" clId="{4DD53DB0-9DE3-4862-9681-91E06199108A}" dt="2023-12-01T19:37:40.570" v="6578" actId="478"/>
          <ac:spMkLst>
            <pc:docMk/>
            <pc:sldMk cId="634489375" sldId="413"/>
            <ac:spMk id="4" creationId="{7F562F9D-FC78-80BE-B4E3-A2F6D0059517}"/>
          </ac:spMkLst>
        </pc:spChg>
        <pc:spChg chg="add mod">
          <ac:chgData name="Maria Hortense Braz de Matos" userId="5bc5b675-87f3-446e-af61-8743361a8ab5" providerId="ADAL" clId="{4DD53DB0-9DE3-4862-9681-91E06199108A}" dt="2023-12-01T19:37:55.657" v="6612" actId="20577"/>
          <ac:spMkLst>
            <pc:docMk/>
            <pc:sldMk cId="634489375" sldId="413"/>
            <ac:spMk id="5" creationId="{BD1AE285-51F0-4833-1619-6D85C71DA749}"/>
          </ac:spMkLst>
        </pc:spChg>
        <pc:spChg chg="add mod">
          <ac:chgData name="Maria Hortense Braz de Matos" userId="5bc5b675-87f3-446e-af61-8743361a8ab5" providerId="ADAL" clId="{4DD53DB0-9DE3-4862-9681-91E06199108A}" dt="2023-12-03T16:24:18.119" v="8433" actId="13926"/>
          <ac:spMkLst>
            <pc:docMk/>
            <pc:sldMk cId="634489375" sldId="413"/>
            <ac:spMk id="6" creationId="{C58F3C76-F342-97A7-BE42-5E8976841751}"/>
          </ac:spMkLst>
        </pc:spChg>
        <pc:spChg chg="mod">
          <ac:chgData name="Maria Hortense Braz de Matos" userId="5bc5b675-87f3-446e-af61-8743361a8ab5" providerId="ADAL" clId="{4DD53DB0-9DE3-4862-9681-91E06199108A}" dt="2023-12-03T16:26:14.899" v="8446" actId="1076"/>
          <ac:spMkLst>
            <pc:docMk/>
            <pc:sldMk cId="634489375" sldId="413"/>
            <ac:spMk id="10" creationId="{0F5A50BD-9981-1978-EB09-86147DE57430}"/>
          </ac:spMkLst>
        </pc:spChg>
        <pc:spChg chg="mod">
          <ac:chgData name="Maria Hortense Braz de Matos" userId="5bc5b675-87f3-446e-af61-8743361a8ab5" providerId="ADAL" clId="{4DD53DB0-9DE3-4862-9681-91E06199108A}" dt="2023-12-03T16:25:09.736" v="8436" actId="1076"/>
          <ac:spMkLst>
            <pc:docMk/>
            <pc:sldMk cId="634489375" sldId="413"/>
            <ac:spMk id="11" creationId="{3E0945C2-719F-DF29-966E-5F063E92BA68}"/>
          </ac:spMkLst>
        </pc:spChg>
        <pc:spChg chg="del mod">
          <ac:chgData name="Maria Hortense Braz de Matos" userId="5bc5b675-87f3-446e-af61-8743361a8ab5" providerId="ADAL" clId="{4DD53DB0-9DE3-4862-9681-91E06199108A}" dt="2023-12-03T16:25:33.486" v="8439" actId="478"/>
          <ac:spMkLst>
            <pc:docMk/>
            <pc:sldMk cId="634489375" sldId="413"/>
            <ac:spMk id="16" creationId="{77CC35B1-4A9B-1592-51F3-00FBA29A7836}"/>
          </ac:spMkLst>
        </pc:spChg>
        <pc:spChg chg="mod">
          <ac:chgData name="Maria Hortense Braz de Matos" userId="5bc5b675-87f3-446e-af61-8743361a8ab5" providerId="ADAL" clId="{4DD53DB0-9DE3-4862-9681-91E06199108A}" dt="2023-12-03T16:26:14.899" v="8446" actId="1076"/>
          <ac:spMkLst>
            <pc:docMk/>
            <pc:sldMk cId="634489375" sldId="413"/>
            <ac:spMk id="17" creationId="{5AF86F4A-67C2-703B-097E-571604218485}"/>
          </ac:spMkLst>
        </pc:spChg>
        <pc:spChg chg="mod">
          <ac:chgData name="Maria Hortense Braz de Matos" userId="5bc5b675-87f3-446e-af61-8743361a8ab5" providerId="ADAL" clId="{4DD53DB0-9DE3-4862-9681-91E06199108A}" dt="2023-12-03T16:26:39.911" v="8449" actId="554"/>
          <ac:spMkLst>
            <pc:docMk/>
            <pc:sldMk cId="634489375" sldId="413"/>
            <ac:spMk id="18" creationId="{4A9A31C5-FC0A-AD0E-A31F-E3F6992CE34B}"/>
          </ac:spMkLst>
        </pc:spChg>
        <pc:spChg chg="mod">
          <ac:chgData name="Maria Hortense Braz de Matos" userId="5bc5b675-87f3-446e-af61-8743361a8ab5" providerId="ADAL" clId="{4DD53DB0-9DE3-4862-9681-91E06199108A}" dt="2023-12-03T16:26:14.899" v="8446" actId="1076"/>
          <ac:spMkLst>
            <pc:docMk/>
            <pc:sldMk cId="634489375" sldId="413"/>
            <ac:spMk id="19" creationId="{3F69AD6C-20A5-F6D0-DB56-E3EDB6889859}"/>
          </ac:spMkLst>
        </pc:spChg>
        <pc:spChg chg="mod">
          <ac:chgData name="Maria Hortense Braz de Matos" userId="5bc5b675-87f3-446e-af61-8743361a8ab5" providerId="ADAL" clId="{4DD53DB0-9DE3-4862-9681-91E06199108A}" dt="2023-12-03T16:25:09.736" v="8436" actId="1076"/>
          <ac:spMkLst>
            <pc:docMk/>
            <pc:sldMk cId="634489375" sldId="413"/>
            <ac:spMk id="20" creationId="{EF938F11-A80A-C13C-BA7F-6AD6FF0CBBB2}"/>
          </ac:spMkLst>
        </pc:spChg>
        <pc:spChg chg="mod">
          <ac:chgData name="Maria Hortense Braz de Matos" userId="5bc5b675-87f3-446e-af61-8743361a8ab5" providerId="ADAL" clId="{4DD53DB0-9DE3-4862-9681-91E06199108A}" dt="2023-12-03T16:25:09.736" v="8436" actId="1076"/>
          <ac:spMkLst>
            <pc:docMk/>
            <pc:sldMk cId="634489375" sldId="413"/>
            <ac:spMk id="21" creationId="{D9CD9084-F537-C959-6A6C-4E4256D87D66}"/>
          </ac:spMkLst>
        </pc:spChg>
        <pc:spChg chg="mod">
          <ac:chgData name="Maria Hortense Braz de Matos" userId="5bc5b675-87f3-446e-af61-8743361a8ab5" providerId="ADAL" clId="{4DD53DB0-9DE3-4862-9681-91E06199108A}" dt="2023-12-03T16:25:09.736" v="8436" actId="1076"/>
          <ac:spMkLst>
            <pc:docMk/>
            <pc:sldMk cId="634489375" sldId="413"/>
            <ac:spMk id="25" creationId="{224F1DDA-F13B-52D7-A4F4-7444F4B6E846}"/>
          </ac:spMkLst>
        </pc:spChg>
        <pc:spChg chg="add del mod">
          <ac:chgData name="Maria Hortense Braz de Matos" userId="5bc5b675-87f3-446e-af61-8743361a8ab5" providerId="ADAL" clId="{4DD53DB0-9DE3-4862-9681-91E06199108A}" dt="2023-12-03T16:26:31.253" v="8448" actId="478"/>
          <ac:spMkLst>
            <pc:docMk/>
            <pc:sldMk cId="634489375" sldId="413"/>
            <ac:spMk id="55" creationId="{C8CC6EB1-9C5E-1733-ED2D-8F7B549A2744}"/>
          </ac:spMkLst>
        </pc:spChg>
        <pc:spChg chg="add mod">
          <ac:chgData name="Maria Hortense Braz de Matos" userId="5bc5b675-87f3-446e-af61-8743361a8ab5" providerId="ADAL" clId="{4DD53DB0-9DE3-4862-9681-91E06199108A}" dt="2023-12-03T16:26:39.911" v="8449" actId="554"/>
          <ac:spMkLst>
            <pc:docMk/>
            <pc:sldMk cId="634489375" sldId="413"/>
            <ac:spMk id="56" creationId="{1A09BB5C-BEF6-E705-E9E4-BDEB1F8196D1}"/>
          </ac:spMkLst>
        </pc:spChg>
        <pc:picChg chg="del">
          <ac:chgData name="Maria Hortense Braz de Matos" userId="5bc5b675-87f3-446e-af61-8743361a8ab5" providerId="ADAL" clId="{4DD53DB0-9DE3-4862-9681-91E06199108A}" dt="2023-12-03T16:25:02.465" v="8434" actId="478"/>
          <ac:picMkLst>
            <pc:docMk/>
            <pc:sldMk cId="634489375" sldId="413"/>
            <ac:picMk id="2" creationId="{28289DBD-7AF6-DA0B-E538-FFEBC8F07FCD}"/>
          </ac:picMkLst>
        </pc:picChg>
        <pc:picChg chg="mod">
          <ac:chgData name="Maria Hortense Braz de Matos" userId="5bc5b675-87f3-446e-af61-8743361a8ab5" providerId="ADAL" clId="{4DD53DB0-9DE3-4862-9681-91E06199108A}" dt="2023-12-03T16:25:09.736" v="8436" actId="1076"/>
          <ac:picMkLst>
            <pc:docMk/>
            <pc:sldMk cId="634489375" sldId="413"/>
            <ac:picMk id="22" creationId="{FFB41083-A710-674E-B64A-5DBBEB5909CB}"/>
          </ac:picMkLst>
        </pc:picChg>
        <pc:picChg chg="mod">
          <ac:chgData name="Maria Hortense Braz de Matos" userId="5bc5b675-87f3-446e-af61-8743361a8ab5" providerId="ADAL" clId="{4DD53DB0-9DE3-4862-9681-91E06199108A}" dt="2023-12-03T16:25:09.736" v="8436" actId="1076"/>
          <ac:picMkLst>
            <pc:docMk/>
            <pc:sldMk cId="634489375" sldId="413"/>
            <ac:picMk id="23" creationId="{0083DBAD-8D93-0CF3-7BDD-CB2A4212A5D7}"/>
          </ac:picMkLst>
        </pc:picChg>
        <pc:picChg chg="mod">
          <ac:chgData name="Maria Hortense Braz de Matos" userId="5bc5b675-87f3-446e-af61-8743361a8ab5" providerId="ADAL" clId="{4DD53DB0-9DE3-4862-9681-91E06199108A}" dt="2023-12-03T16:25:09.736" v="8436" actId="1076"/>
          <ac:picMkLst>
            <pc:docMk/>
            <pc:sldMk cId="634489375" sldId="413"/>
            <ac:picMk id="24" creationId="{1703349C-D33B-D123-E2AA-A8ED6BFC3ECE}"/>
          </ac:picMkLst>
        </pc:picChg>
        <pc:cxnChg chg="add mod">
          <ac:chgData name="Maria Hortense Braz de Matos" userId="5bc5b675-87f3-446e-af61-8743361a8ab5" providerId="ADAL" clId="{4DD53DB0-9DE3-4862-9681-91E06199108A}" dt="2023-12-03T16:26:39.911" v="8449" actId="554"/>
          <ac:cxnSpMkLst>
            <pc:docMk/>
            <pc:sldMk cId="634489375" sldId="413"/>
            <ac:cxnSpMk id="7" creationId="{626D04CF-914B-9D82-0DB7-F1FAEDB3682F}"/>
          </ac:cxnSpMkLst>
        </pc:cxnChg>
        <pc:cxnChg chg="add mod">
          <ac:chgData name="Maria Hortense Braz de Matos" userId="5bc5b675-87f3-446e-af61-8743361a8ab5" providerId="ADAL" clId="{4DD53DB0-9DE3-4862-9681-91E06199108A}" dt="2023-12-03T16:25:09.736" v="8436" actId="1076"/>
          <ac:cxnSpMkLst>
            <pc:docMk/>
            <pc:sldMk cId="634489375" sldId="413"/>
            <ac:cxnSpMk id="13" creationId="{EC2B7309-3302-C35B-E3EB-88ECBDFD0360}"/>
          </ac:cxnSpMkLst>
        </pc:cxnChg>
        <pc:cxnChg chg="add mod">
          <ac:chgData name="Maria Hortense Braz de Matos" userId="5bc5b675-87f3-446e-af61-8743361a8ab5" providerId="ADAL" clId="{4DD53DB0-9DE3-4862-9681-91E06199108A}" dt="2023-12-03T16:26:39.911" v="8449" actId="554"/>
          <ac:cxnSpMkLst>
            <pc:docMk/>
            <pc:sldMk cId="634489375" sldId="413"/>
            <ac:cxnSpMk id="29" creationId="{452BF7A3-3CB3-18CF-A050-00772F22E4F3}"/>
          </ac:cxnSpMkLst>
        </pc:cxnChg>
        <pc:cxnChg chg="add del mod">
          <ac:chgData name="Maria Hortense Braz de Matos" userId="5bc5b675-87f3-446e-af61-8743361a8ab5" providerId="ADAL" clId="{4DD53DB0-9DE3-4862-9681-91E06199108A}" dt="2023-12-03T16:20:47.268" v="8406" actId="478"/>
          <ac:cxnSpMkLst>
            <pc:docMk/>
            <pc:sldMk cId="634489375" sldId="413"/>
            <ac:cxnSpMk id="31" creationId="{AC03BC36-C906-67E7-D60C-067EA9A1C47D}"/>
          </ac:cxnSpMkLst>
        </pc:cxnChg>
        <pc:cxnChg chg="add mod">
          <ac:chgData name="Maria Hortense Braz de Matos" userId="5bc5b675-87f3-446e-af61-8743361a8ab5" providerId="ADAL" clId="{4DD53DB0-9DE3-4862-9681-91E06199108A}" dt="2023-12-03T16:26:39.911" v="8449" actId="554"/>
          <ac:cxnSpMkLst>
            <pc:docMk/>
            <pc:sldMk cId="634489375" sldId="413"/>
            <ac:cxnSpMk id="33" creationId="{F7D73085-C851-A7EA-9497-12741A22448E}"/>
          </ac:cxnSpMkLst>
        </pc:cxnChg>
        <pc:cxnChg chg="add del">
          <ac:chgData name="Maria Hortense Braz de Matos" userId="5bc5b675-87f3-446e-af61-8743361a8ab5" providerId="ADAL" clId="{4DD53DB0-9DE3-4862-9681-91E06199108A}" dt="2023-12-03T16:21:56.937" v="8411" actId="478"/>
          <ac:cxnSpMkLst>
            <pc:docMk/>
            <pc:sldMk cId="634489375" sldId="413"/>
            <ac:cxnSpMk id="37" creationId="{CBB1929D-067B-4A89-A6E0-19B6F9640381}"/>
          </ac:cxnSpMkLst>
        </pc:cxnChg>
        <pc:cxnChg chg="add mod">
          <ac:chgData name="Maria Hortense Braz de Matos" userId="5bc5b675-87f3-446e-af61-8743361a8ab5" providerId="ADAL" clId="{4DD53DB0-9DE3-4862-9681-91E06199108A}" dt="2023-12-03T16:25:09.736" v="8436" actId="1076"/>
          <ac:cxnSpMkLst>
            <pc:docMk/>
            <pc:sldMk cId="634489375" sldId="413"/>
            <ac:cxnSpMk id="39" creationId="{AD33B229-63F9-A68F-DA61-90581C75BC41}"/>
          </ac:cxnSpMkLst>
        </pc:cxnChg>
        <pc:cxnChg chg="add mod">
          <ac:chgData name="Maria Hortense Braz de Matos" userId="5bc5b675-87f3-446e-af61-8743361a8ab5" providerId="ADAL" clId="{4DD53DB0-9DE3-4862-9681-91E06199108A}" dt="2023-12-03T16:25:51.813" v="8444" actId="14100"/>
          <ac:cxnSpMkLst>
            <pc:docMk/>
            <pc:sldMk cId="634489375" sldId="413"/>
            <ac:cxnSpMk id="46" creationId="{79CBFD86-36FB-4179-5AC1-9836390F8256}"/>
          </ac:cxnSpMkLst>
        </pc:cxnChg>
      </pc:sldChg>
      <pc:sldChg chg="addSp delSp modSp new mod modClrScheme modShow chgLayout">
        <pc:chgData name="Maria Hortense Braz de Matos" userId="5bc5b675-87f3-446e-af61-8743361a8ab5" providerId="ADAL" clId="{4DD53DB0-9DE3-4862-9681-91E06199108A}" dt="2023-12-03T16:35:49.790" v="8498" actId="729"/>
        <pc:sldMkLst>
          <pc:docMk/>
          <pc:sldMk cId="3874075115" sldId="414"/>
        </pc:sldMkLst>
        <pc:spChg chg="del mod ord">
          <ac:chgData name="Maria Hortense Braz de Matos" userId="5bc5b675-87f3-446e-af61-8743361a8ab5" providerId="ADAL" clId="{4DD53DB0-9DE3-4862-9681-91E06199108A}" dt="2023-12-02T15:28:01.728" v="8259" actId="700"/>
          <ac:spMkLst>
            <pc:docMk/>
            <pc:sldMk cId="3874075115" sldId="414"/>
            <ac:spMk id="2" creationId="{84392084-5147-0A7E-491D-02230287517A}"/>
          </ac:spMkLst>
        </pc:spChg>
        <pc:spChg chg="del">
          <ac:chgData name="Maria Hortense Braz de Matos" userId="5bc5b675-87f3-446e-af61-8743361a8ab5" providerId="ADAL" clId="{4DD53DB0-9DE3-4862-9681-91E06199108A}" dt="2023-12-02T15:28:01.728" v="8259" actId="700"/>
          <ac:spMkLst>
            <pc:docMk/>
            <pc:sldMk cId="3874075115" sldId="414"/>
            <ac:spMk id="3" creationId="{BD1E1DB5-6CDD-BB6D-DE2F-60825E65129E}"/>
          </ac:spMkLst>
        </pc:spChg>
        <pc:spChg chg="add mod ord">
          <ac:chgData name="Maria Hortense Braz de Matos" userId="5bc5b675-87f3-446e-af61-8743361a8ab5" providerId="ADAL" clId="{4DD53DB0-9DE3-4862-9681-91E06199108A}" dt="2023-12-02T15:28:01.728" v="8259" actId="700"/>
          <ac:spMkLst>
            <pc:docMk/>
            <pc:sldMk cId="3874075115" sldId="414"/>
            <ac:spMk id="4" creationId="{6A8EF02D-F018-0C29-66DC-F8D0129401EA}"/>
          </ac:spMkLst>
        </pc:spChg>
      </pc:sldChg>
      <pc:sldChg chg="del">
        <pc:chgData name="Maria Hortense Braz de Matos" userId="5bc5b675-87f3-446e-af61-8743361a8ab5" providerId="ADAL" clId="{4DD53DB0-9DE3-4862-9681-91E06199108A}" dt="2023-12-03T17:16:31.534" v="9120" actId="47"/>
        <pc:sldMkLst>
          <pc:docMk/>
          <pc:sldMk cId="1684807928" sldId="415"/>
        </pc:sldMkLst>
      </pc:sldChg>
      <pc:sldChg chg="mod modShow">
        <pc:chgData name="Maria Hortense Braz de Matos" userId="5bc5b675-87f3-446e-af61-8743361a8ab5" providerId="ADAL" clId="{4DD53DB0-9DE3-4862-9681-91E06199108A}" dt="2023-12-03T16:35:49.790" v="8498" actId="729"/>
        <pc:sldMkLst>
          <pc:docMk/>
          <pc:sldMk cId="895827741" sldId="416"/>
        </pc:sldMkLst>
      </pc:sldChg>
      <pc:sldChg chg="mod modShow">
        <pc:chgData name="Maria Hortense Braz de Matos" userId="5bc5b675-87f3-446e-af61-8743361a8ab5" providerId="ADAL" clId="{4DD53DB0-9DE3-4862-9681-91E06199108A}" dt="2023-12-03T16:35:49.790" v="8498" actId="729"/>
        <pc:sldMkLst>
          <pc:docMk/>
          <pc:sldMk cId="825725043" sldId="417"/>
        </pc:sldMkLst>
      </pc:sldChg>
      <pc:sldChg chg="mod modShow">
        <pc:chgData name="Maria Hortense Braz de Matos" userId="5bc5b675-87f3-446e-af61-8743361a8ab5" providerId="ADAL" clId="{4DD53DB0-9DE3-4862-9681-91E06199108A}" dt="2023-12-03T16:35:49.790" v="8498" actId="729"/>
        <pc:sldMkLst>
          <pc:docMk/>
          <pc:sldMk cId="1928397205" sldId="418"/>
        </pc:sldMkLst>
      </pc:sldChg>
      <pc:sldChg chg="mod modShow">
        <pc:chgData name="Maria Hortense Braz de Matos" userId="5bc5b675-87f3-446e-af61-8743361a8ab5" providerId="ADAL" clId="{4DD53DB0-9DE3-4862-9681-91E06199108A}" dt="2023-12-03T16:35:49.790" v="8498" actId="729"/>
        <pc:sldMkLst>
          <pc:docMk/>
          <pc:sldMk cId="4045992318" sldId="422"/>
        </pc:sldMkLst>
      </pc:sldChg>
      <pc:sldChg chg="mod modShow">
        <pc:chgData name="Maria Hortense Braz de Matos" userId="5bc5b675-87f3-446e-af61-8743361a8ab5" providerId="ADAL" clId="{4DD53DB0-9DE3-4862-9681-91E06199108A}" dt="2023-12-03T16:35:49.790" v="8498" actId="729"/>
        <pc:sldMkLst>
          <pc:docMk/>
          <pc:sldMk cId="1194102232" sldId="423"/>
        </pc:sldMkLst>
      </pc:sldChg>
      <pc:sldChg chg="addSp delSp modSp mod modShow">
        <pc:chgData name="Maria Hortense Braz de Matos" userId="5bc5b675-87f3-446e-af61-8743361a8ab5" providerId="ADAL" clId="{4DD53DB0-9DE3-4862-9681-91E06199108A}" dt="2023-12-11T22:44:50.989" v="9455" actId="1076"/>
        <pc:sldMkLst>
          <pc:docMk/>
          <pc:sldMk cId="2154395442" sldId="424"/>
        </pc:sldMkLst>
        <pc:picChg chg="del mod">
          <ac:chgData name="Maria Hortense Braz de Matos" userId="5bc5b675-87f3-446e-af61-8743361a8ab5" providerId="ADAL" clId="{4DD53DB0-9DE3-4862-9681-91E06199108A}" dt="2023-12-11T22:44:48.299" v="9454" actId="478"/>
          <ac:picMkLst>
            <pc:docMk/>
            <pc:sldMk cId="2154395442" sldId="424"/>
            <ac:picMk id="3" creationId="{C9F89CF5-9B56-7B54-B39F-CE73D25177EE}"/>
          </ac:picMkLst>
        </pc:picChg>
        <pc:picChg chg="add mod">
          <ac:chgData name="Maria Hortense Braz de Matos" userId="5bc5b675-87f3-446e-af61-8743361a8ab5" providerId="ADAL" clId="{4DD53DB0-9DE3-4862-9681-91E06199108A}" dt="2023-12-11T22:44:50.989" v="9455" actId="1076"/>
          <ac:picMkLst>
            <pc:docMk/>
            <pc:sldMk cId="2154395442" sldId="424"/>
            <ac:picMk id="7" creationId="{8B760F6D-A1B7-4160-211B-52C201F4BCEF}"/>
          </ac:picMkLst>
        </pc:picChg>
      </pc:sldChg>
      <pc:sldChg chg="mod modShow">
        <pc:chgData name="Maria Hortense Braz de Matos" userId="5bc5b675-87f3-446e-af61-8743361a8ab5" providerId="ADAL" clId="{4DD53DB0-9DE3-4862-9681-91E06199108A}" dt="2023-12-03T16:35:49.790" v="8498" actId="729"/>
        <pc:sldMkLst>
          <pc:docMk/>
          <pc:sldMk cId="3671253465" sldId="425"/>
        </pc:sldMkLst>
      </pc:sldChg>
      <pc:sldChg chg="modSp mod modClrScheme delCm chgLayout modNotesTx">
        <pc:chgData name="Maria Hortense Braz de Matos" userId="5bc5b675-87f3-446e-af61-8743361a8ab5" providerId="ADAL" clId="{4DD53DB0-9DE3-4862-9681-91E06199108A}" dt="2023-12-03T17:40:27.650" v="9449" actId="20577"/>
        <pc:sldMkLst>
          <pc:docMk/>
          <pc:sldMk cId="2609227886" sldId="426"/>
        </pc:sldMkLst>
        <pc:spChg chg="mod">
          <ac:chgData name="Maria Hortense Braz de Matos" userId="5bc5b675-87f3-446e-af61-8743361a8ab5" providerId="ADAL" clId="{4DD53DB0-9DE3-4862-9681-91E06199108A}" dt="2023-12-03T17:33:13.226" v="9424" actId="6549"/>
          <ac:spMkLst>
            <pc:docMk/>
            <pc:sldMk cId="2609227886" sldId="426"/>
            <ac:spMk id="7" creationId="{80E48CC2-03B3-97B4-77F5-08B0B7EC5839}"/>
          </ac:spMkLst>
        </pc:spChg>
        <pc:spChg chg="mod">
          <ac:chgData name="Maria Hortense Braz de Matos" userId="5bc5b675-87f3-446e-af61-8743361a8ab5" providerId="ADAL" clId="{4DD53DB0-9DE3-4862-9681-91E06199108A}" dt="2023-12-03T17:33:15.113" v="9425" actId="6549"/>
          <ac:spMkLst>
            <pc:docMk/>
            <pc:sldMk cId="2609227886" sldId="426"/>
            <ac:spMk id="8" creationId="{57F82214-0BF1-31AD-3ED7-EF8E2BEAC4C5}"/>
          </ac:spMkLst>
        </pc:spChg>
        <pc:spChg chg="mod">
          <ac:chgData name="Maria Hortense Braz de Matos" userId="5bc5b675-87f3-446e-af61-8743361a8ab5" providerId="ADAL" clId="{4DD53DB0-9DE3-4862-9681-91E06199108A}" dt="2023-12-03T17:33:22.739" v="9427" actId="20577"/>
          <ac:spMkLst>
            <pc:docMk/>
            <pc:sldMk cId="2609227886" sldId="426"/>
            <ac:spMk id="9" creationId="{7C30CBD1-319F-B9AD-1020-96449A7C787B}"/>
          </ac:spMkLst>
        </pc:spChg>
        <pc:picChg chg="mod ord modCrop">
          <ac:chgData name="Maria Hortense Braz de Matos" userId="5bc5b675-87f3-446e-af61-8743361a8ab5" providerId="ADAL" clId="{4DD53DB0-9DE3-4862-9681-91E06199108A}" dt="2023-12-03T17:33:03.470" v="9423" actId="1076"/>
          <ac:picMkLst>
            <pc:docMk/>
            <pc:sldMk cId="2609227886" sldId="426"/>
            <ac:picMk id="13" creationId="{9F828BE4-2F00-C08B-A50E-32D367EEF576}"/>
          </ac:picMkLst>
        </pc:picChg>
      </pc:sldChg>
      <pc:sldMasterChg chg="del delSldLayout">
        <pc:chgData name="Maria Hortense Braz de Matos" userId="5bc5b675-87f3-446e-af61-8743361a8ab5" providerId="ADAL" clId="{4DD53DB0-9DE3-4862-9681-91E06199108A}" dt="2023-11-30T19:27:11.062" v="793" actId="47"/>
        <pc:sldMasterMkLst>
          <pc:docMk/>
          <pc:sldMasterMk cId="1928452137" sldId="2147483666"/>
        </pc:sldMasterMkLst>
        <pc:sldLayoutChg chg="del">
          <pc:chgData name="Maria Hortense Braz de Matos" userId="5bc5b675-87f3-446e-af61-8743361a8ab5" providerId="ADAL" clId="{4DD53DB0-9DE3-4862-9681-91E06199108A}" dt="2023-11-30T19:27:11.062" v="793" actId="47"/>
          <pc:sldLayoutMkLst>
            <pc:docMk/>
            <pc:sldMasterMk cId="1928452137" sldId="2147483666"/>
            <pc:sldLayoutMk cId="913108640" sldId="2147483667"/>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2631270364" sldId="2147483668"/>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3052812340" sldId="2147483670"/>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3021740900" sldId="2147483671"/>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4203189534" sldId="2147483672"/>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3228668804" sldId="2147483673"/>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3562372833" sldId="2147483674"/>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609095538" sldId="2147483675"/>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264798778" sldId="2147483676"/>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1616316768" sldId="2147483677"/>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429355126" sldId="2147483678"/>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23543133" sldId="2147483681"/>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4026250860" sldId="2147483685"/>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2501487619" sldId="2147483688"/>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2056323463" sldId="2147483692"/>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3061950496" sldId="2147483694"/>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1386696317" sldId="2147483696"/>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129327841" sldId="2147483697"/>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1442619314" sldId="2147483699"/>
          </pc:sldLayoutMkLst>
        </pc:sldLayoutChg>
        <pc:sldLayoutChg chg="del">
          <pc:chgData name="Maria Hortense Braz de Matos" userId="5bc5b675-87f3-446e-af61-8743361a8ab5" providerId="ADAL" clId="{4DD53DB0-9DE3-4862-9681-91E06199108A}" dt="2023-11-30T19:27:11.062" v="793" actId="47"/>
          <pc:sldLayoutMkLst>
            <pc:docMk/>
            <pc:sldMasterMk cId="1928452137" sldId="2147483666"/>
            <pc:sldLayoutMk cId="2376933483" sldId="2147483700"/>
          </pc:sldLayoutMkLst>
        </pc:sldLayoutChg>
        <pc:sldLayoutChg chg="del">
          <pc:chgData name="Maria Hortense Braz de Matos" userId="5bc5b675-87f3-446e-af61-8743361a8ab5" providerId="ADAL" clId="{4DD53DB0-9DE3-4862-9681-91E06199108A}" dt="2023-11-13T08:31:45.388" v="9" actId="47"/>
          <pc:sldLayoutMkLst>
            <pc:docMk/>
            <pc:sldMasterMk cId="1928452137" sldId="2147483666"/>
            <pc:sldLayoutMk cId="2290034707" sldId="2147483701"/>
          </pc:sldLayoutMkLst>
        </pc:sldLayoutChg>
      </pc:sldMasterChg>
    </pc:docChg>
  </pc:docChgLst>
  <pc:docChgLst>
    <pc:chgData name="Andre Miguel Cardoso Pereira" userId="S::20221204@novaims.unl.pt::75940013-b690-40af-a84a-5c6930f290a7" providerId="AD" clId="Web-{B7083FD7-1E13-4E68-93E0-908FE10CF7C7}"/>
    <pc:docChg chg="mod addSld delSld modSld sldOrd">
      <pc:chgData name="Andre Miguel Cardoso Pereira" userId="S::20221204@novaims.unl.pt::75940013-b690-40af-a84a-5c6930f290a7" providerId="AD" clId="Web-{B7083FD7-1E13-4E68-93E0-908FE10CF7C7}" dt="2023-12-03T11:47:03.187" v="1205"/>
      <pc:docMkLst>
        <pc:docMk/>
      </pc:docMkLst>
      <pc:sldChg chg="addSp delSp modSp">
        <pc:chgData name="Andre Miguel Cardoso Pereira" userId="S::20221204@novaims.unl.pt::75940013-b690-40af-a84a-5c6930f290a7" providerId="AD" clId="Web-{B7083FD7-1E13-4E68-93E0-908FE10CF7C7}" dt="2023-12-03T11:35:03.601" v="572" actId="1076"/>
        <pc:sldMkLst>
          <pc:docMk/>
          <pc:sldMk cId="4222592916" sldId="265"/>
        </pc:sldMkLst>
        <pc:spChg chg="add del mod">
          <ac:chgData name="Andre Miguel Cardoso Pereira" userId="S::20221204@novaims.unl.pt::75940013-b690-40af-a84a-5c6930f290a7" providerId="AD" clId="Web-{B7083FD7-1E13-4E68-93E0-908FE10CF7C7}" dt="2023-12-03T11:27:05.478" v="416" actId="1076"/>
          <ac:spMkLst>
            <pc:docMk/>
            <pc:sldMk cId="4222592916" sldId="265"/>
            <ac:spMk id="3" creationId="{75065607-11FF-27D8-42A1-AA3E7BE1BAF1}"/>
          </ac:spMkLst>
        </pc:spChg>
        <pc:spChg chg="mod">
          <ac:chgData name="Andre Miguel Cardoso Pereira" userId="S::20221204@novaims.unl.pt::75940013-b690-40af-a84a-5c6930f290a7" providerId="AD" clId="Web-{B7083FD7-1E13-4E68-93E0-908FE10CF7C7}" dt="2023-12-03T11:27:18.385" v="418" actId="20577"/>
          <ac:spMkLst>
            <pc:docMk/>
            <pc:sldMk cId="4222592916" sldId="265"/>
            <ac:spMk id="5" creationId="{CBD3180A-8EEC-0027-1BFE-09D90202C372}"/>
          </ac:spMkLst>
        </pc:spChg>
        <pc:spChg chg="mod">
          <ac:chgData name="Andre Miguel Cardoso Pereira" userId="S::20221204@novaims.unl.pt::75940013-b690-40af-a84a-5c6930f290a7" providerId="AD" clId="Web-{B7083FD7-1E13-4E68-93E0-908FE10CF7C7}" dt="2023-12-03T11:25:48.054" v="392" actId="20577"/>
          <ac:spMkLst>
            <pc:docMk/>
            <pc:sldMk cId="4222592916" sldId="265"/>
            <ac:spMk id="14" creationId="{7084496D-5F9A-D4B2-3E99-347FA2B50A7A}"/>
          </ac:spMkLst>
        </pc:spChg>
        <pc:graphicFrameChg chg="mod modGraphic">
          <ac:chgData name="Andre Miguel Cardoso Pereira" userId="S::20221204@novaims.unl.pt::75940013-b690-40af-a84a-5c6930f290a7" providerId="AD" clId="Web-{B7083FD7-1E13-4E68-93E0-908FE10CF7C7}" dt="2023-12-03T11:35:03.601" v="572" actId="1076"/>
          <ac:graphicFrameMkLst>
            <pc:docMk/>
            <pc:sldMk cId="4222592916" sldId="265"/>
            <ac:graphicFrameMk id="11" creationId="{EEFA177F-947E-B232-21E8-BC34E4DF3FC6}"/>
          </ac:graphicFrameMkLst>
        </pc:graphicFrameChg>
        <pc:picChg chg="add mod">
          <ac:chgData name="Andre Miguel Cardoso Pereira" userId="S::20221204@novaims.unl.pt::75940013-b690-40af-a84a-5c6930f290a7" providerId="AD" clId="Web-{B7083FD7-1E13-4E68-93E0-908FE10CF7C7}" dt="2023-12-03T11:25:00.662" v="384" actId="1076"/>
          <ac:picMkLst>
            <pc:docMk/>
            <pc:sldMk cId="4222592916" sldId="265"/>
            <ac:picMk id="2" creationId="{246E40BE-1DA6-78B1-7C76-2254B6614D93}"/>
          </ac:picMkLst>
        </pc:picChg>
        <pc:picChg chg="add del mod">
          <ac:chgData name="Andre Miguel Cardoso Pereira" userId="S::20221204@novaims.unl.pt::75940013-b690-40af-a84a-5c6930f290a7" providerId="AD" clId="Web-{B7083FD7-1E13-4E68-93E0-908FE10CF7C7}" dt="2023-12-03T11:26:53.806" v="411"/>
          <ac:picMkLst>
            <pc:docMk/>
            <pc:sldMk cId="4222592916" sldId="265"/>
            <ac:picMk id="6" creationId="{983733FC-ECD4-994D-9E82-D3862652D5F1}"/>
          </ac:picMkLst>
        </pc:picChg>
        <pc:picChg chg="del">
          <ac:chgData name="Andre Miguel Cardoso Pereira" userId="S::20221204@novaims.unl.pt::75940013-b690-40af-a84a-5c6930f290a7" providerId="AD" clId="Web-{B7083FD7-1E13-4E68-93E0-908FE10CF7C7}" dt="2023-12-03T11:24:35.114" v="379"/>
          <ac:picMkLst>
            <pc:docMk/>
            <pc:sldMk cId="4222592916" sldId="265"/>
            <ac:picMk id="13" creationId="{4D739419-3031-8497-E6A3-C6EC7328E78E}"/>
          </ac:picMkLst>
        </pc:picChg>
        <pc:picChg chg="del">
          <ac:chgData name="Andre Miguel Cardoso Pereira" userId="S::20221204@novaims.unl.pt::75940013-b690-40af-a84a-5c6930f290a7" providerId="AD" clId="Web-{B7083FD7-1E13-4E68-93E0-908FE10CF7C7}" dt="2023-12-03T11:24:33.630" v="378"/>
          <ac:picMkLst>
            <pc:docMk/>
            <pc:sldMk cId="4222592916" sldId="265"/>
            <ac:picMk id="16" creationId="{AE023ECC-1570-DD60-D31F-46EF5171E094}"/>
          </ac:picMkLst>
        </pc:picChg>
      </pc:sldChg>
      <pc:sldChg chg="modSp ord">
        <pc:chgData name="Andre Miguel Cardoso Pereira" userId="S::20221204@novaims.unl.pt::75940013-b690-40af-a84a-5c6930f290a7" providerId="AD" clId="Web-{B7083FD7-1E13-4E68-93E0-908FE10CF7C7}" dt="2023-12-03T11:35:11.492" v="573"/>
        <pc:sldMkLst>
          <pc:docMk/>
          <pc:sldMk cId="3520947470" sldId="267"/>
        </pc:sldMkLst>
        <pc:spChg chg="mod">
          <ac:chgData name="Andre Miguel Cardoso Pereira" userId="S::20221204@novaims.unl.pt::75940013-b690-40af-a84a-5c6930f290a7" providerId="AD" clId="Web-{B7083FD7-1E13-4E68-93E0-908FE10CF7C7}" dt="2023-12-03T11:10:07.726" v="362" actId="20577"/>
          <ac:spMkLst>
            <pc:docMk/>
            <pc:sldMk cId="3520947470" sldId="267"/>
            <ac:spMk id="8" creationId="{311603F1-D3FC-2A37-8D6A-D27BEF15C1ED}"/>
          </ac:spMkLst>
        </pc:spChg>
        <pc:spChg chg="mod">
          <ac:chgData name="Andre Miguel Cardoso Pereira" userId="S::20221204@novaims.unl.pt::75940013-b690-40af-a84a-5c6930f290a7" providerId="AD" clId="Web-{B7083FD7-1E13-4E68-93E0-908FE10CF7C7}" dt="2023-12-03T09:14:32.417" v="1" actId="20577"/>
          <ac:spMkLst>
            <pc:docMk/>
            <pc:sldMk cId="3520947470" sldId="267"/>
            <ac:spMk id="9" creationId="{6F4F4650-E83B-1B95-F6EB-8160E13B4BB8}"/>
          </ac:spMkLst>
        </pc:spChg>
        <pc:spChg chg="mod">
          <ac:chgData name="Andre Miguel Cardoso Pereira" userId="S::20221204@novaims.unl.pt::75940013-b690-40af-a84a-5c6930f290a7" providerId="AD" clId="Web-{B7083FD7-1E13-4E68-93E0-908FE10CF7C7}" dt="2023-12-03T11:09:56.570" v="345" actId="20577"/>
          <ac:spMkLst>
            <pc:docMk/>
            <pc:sldMk cId="3520947470" sldId="267"/>
            <ac:spMk id="10" creationId="{516ED24E-2688-AEDD-2508-5BE2471BF77B}"/>
          </ac:spMkLst>
        </pc:spChg>
      </pc:sldChg>
      <pc:sldChg chg="addSp delSp modSp">
        <pc:chgData name="Andre Miguel Cardoso Pereira" userId="S::20221204@novaims.unl.pt::75940013-b690-40af-a84a-5c6930f290a7" providerId="AD" clId="Web-{B7083FD7-1E13-4E68-93E0-908FE10CF7C7}" dt="2023-12-03T11:06:47.939" v="299"/>
        <pc:sldMkLst>
          <pc:docMk/>
          <pc:sldMk cId="436138604" sldId="403"/>
        </pc:sldMkLst>
        <pc:spChg chg="del">
          <ac:chgData name="Andre Miguel Cardoso Pereira" userId="S::20221204@novaims.unl.pt::75940013-b690-40af-a84a-5c6930f290a7" providerId="AD" clId="Web-{B7083FD7-1E13-4E68-93E0-908FE10CF7C7}" dt="2023-12-03T11:02:19.510" v="285"/>
          <ac:spMkLst>
            <pc:docMk/>
            <pc:sldMk cId="436138604" sldId="403"/>
            <ac:spMk id="70" creationId="{29BE9B46-E20A-8D27-F389-4B8006825142}"/>
          </ac:spMkLst>
        </pc:spChg>
        <pc:spChg chg="del">
          <ac:chgData name="Andre Miguel Cardoso Pereira" userId="S::20221204@novaims.unl.pt::75940013-b690-40af-a84a-5c6930f290a7" providerId="AD" clId="Web-{B7083FD7-1E13-4E68-93E0-908FE10CF7C7}" dt="2023-12-03T11:02:21.775" v="286"/>
          <ac:spMkLst>
            <pc:docMk/>
            <pc:sldMk cId="436138604" sldId="403"/>
            <ac:spMk id="74" creationId="{BD9F424D-A71F-3F35-993B-52D45F795329}"/>
          </ac:spMkLst>
        </pc:spChg>
        <pc:picChg chg="add del mod modCrop">
          <ac:chgData name="Andre Miguel Cardoso Pereira" userId="S::20221204@novaims.unl.pt::75940013-b690-40af-a84a-5c6930f290a7" providerId="AD" clId="Web-{B7083FD7-1E13-4E68-93E0-908FE10CF7C7}" dt="2023-12-03T11:06:28.923" v="295"/>
          <ac:picMkLst>
            <pc:docMk/>
            <pc:sldMk cId="436138604" sldId="403"/>
            <ac:picMk id="3" creationId="{DEFF6FF6-AB3C-B619-ADED-148E5F156E26}"/>
          </ac:picMkLst>
        </pc:picChg>
        <pc:picChg chg="add mod modCrop">
          <ac:chgData name="Andre Miguel Cardoso Pereira" userId="S::20221204@novaims.unl.pt::75940013-b690-40af-a84a-5c6930f290a7" providerId="AD" clId="Web-{B7083FD7-1E13-4E68-93E0-908FE10CF7C7}" dt="2023-12-03T11:06:47.939" v="299"/>
          <ac:picMkLst>
            <pc:docMk/>
            <pc:sldMk cId="436138604" sldId="403"/>
            <ac:picMk id="4" creationId="{7A5B6AAF-19A6-83D1-F89E-AE8B88449A80}"/>
          </ac:picMkLst>
        </pc:picChg>
        <pc:picChg chg="del">
          <ac:chgData name="Andre Miguel Cardoso Pereira" userId="S::20221204@novaims.unl.pt::75940013-b690-40af-a84a-5c6930f290a7" providerId="AD" clId="Web-{B7083FD7-1E13-4E68-93E0-908FE10CF7C7}" dt="2023-12-03T11:02:18.025" v="284"/>
          <ac:picMkLst>
            <pc:docMk/>
            <pc:sldMk cId="436138604" sldId="403"/>
            <ac:picMk id="71" creationId="{022C8D59-0FB5-7768-91E6-45AE42D7572A}"/>
          </ac:picMkLst>
        </pc:picChg>
      </pc:sldChg>
      <pc:sldChg chg="addSp delSp modSp">
        <pc:chgData name="Andre Miguel Cardoso Pereira" userId="S::20221204@novaims.unl.pt::75940013-b690-40af-a84a-5c6930f290a7" providerId="AD" clId="Web-{B7083FD7-1E13-4E68-93E0-908FE10CF7C7}" dt="2023-12-03T11:07:21.034" v="302" actId="1076"/>
        <pc:sldMkLst>
          <pc:docMk/>
          <pc:sldMk cId="2926278344" sldId="406"/>
        </pc:sldMkLst>
        <pc:spChg chg="del">
          <ac:chgData name="Andre Miguel Cardoso Pereira" userId="S::20221204@novaims.unl.pt::75940013-b690-40af-a84a-5c6930f290a7" providerId="AD" clId="Web-{B7083FD7-1E13-4E68-93E0-908FE10CF7C7}" dt="2023-12-03T11:07:08.706" v="300"/>
          <ac:spMkLst>
            <pc:docMk/>
            <pc:sldMk cId="2926278344" sldId="406"/>
            <ac:spMk id="3" creationId="{0E582A0A-F10C-1C74-51F5-7E70D024CBA9}"/>
          </ac:spMkLst>
        </pc:spChg>
        <pc:picChg chg="add mod">
          <ac:chgData name="Andre Miguel Cardoso Pereira" userId="S::20221204@novaims.unl.pt::75940013-b690-40af-a84a-5c6930f290a7" providerId="AD" clId="Web-{B7083FD7-1E13-4E68-93E0-908FE10CF7C7}" dt="2023-12-03T11:07:21.034" v="302" actId="1076"/>
          <ac:picMkLst>
            <pc:docMk/>
            <pc:sldMk cId="2926278344" sldId="406"/>
            <ac:picMk id="5" creationId="{31A74BA4-9153-A510-CDD4-3F93BA78C6AB}"/>
          </ac:picMkLst>
        </pc:picChg>
      </pc:sldChg>
      <pc:sldChg chg="addSp delSp modSp addCm delCm">
        <pc:chgData name="Andre Miguel Cardoso Pereira" userId="S::20221204@novaims.unl.pt::75940013-b690-40af-a84a-5c6930f290a7" providerId="AD" clId="Web-{B7083FD7-1E13-4E68-93E0-908FE10CF7C7}" dt="2023-12-03T11:37:02.402" v="614"/>
        <pc:sldMkLst>
          <pc:docMk/>
          <pc:sldMk cId="3533080913" sldId="412"/>
        </pc:sldMkLst>
        <pc:spChg chg="add del mod">
          <ac:chgData name="Andre Miguel Cardoso Pereira" userId="S::20221204@novaims.unl.pt::75940013-b690-40af-a84a-5c6930f290a7" providerId="AD" clId="Web-{B7083FD7-1E13-4E68-93E0-908FE10CF7C7}" dt="2023-12-03T11:37:02.402" v="614"/>
          <ac:spMkLst>
            <pc:docMk/>
            <pc:sldMk cId="3533080913" sldId="412"/>
            <ac:spMk id="14" creationId="{CCAE6005-362A-CBAB-C43E-A6E619B5C09C}"/>
          </ac:spMkLst>
        </pc:spChg>
        <pc:picChg chg="add del mod">
          <ac:chgData name="Andre Miguel Cardoso Pereira" userId="S::20221204@novaims.unl.pt::75940013-b690-40af-a84a-5c6930f290a7" providerId="AD" clId="Web-{B7083FD7-1E13-4E68-93E0-908FE10CF7C7}" dt="2023-12-03T11:37:02.402" v="614"/>
          <ac:picMkLst>
            <pc:docMk/>
            <pc:sldMk cId="3533080913" sldId="412"/>
            <ac:picMk id="13" creationId="{9F828BE4-2F00-C08B-A50E-32D367EEF576}"/>
          </ac:picMkLst>
        </pc:picChg>
      </pc:sldChg>
      <pc:sldChg chg="addSp delSp modSp addCm">
        <pc:chgData name="Andre Miguel Cardoso Pereira" userId="S::20221204@novaims.unl.pt::75940013-b690-40af-a84a-5c6930f290a7" providerId="AD" clId="Web-{B7083FD7-1E13-4E68-93E0-908FE10CF7C7}" dt="2023-12-03T11:47:03.187" v="1205"/>
        <pc:sldMkLst>
          <pc:docMk/>
          <pc:sldMk cId="634489375" sldId="413"/>
        </pc:sldMkLst>
        <pc:spChg chg="add mod">
          <ac:chgData name="Andre Miguel Cardoso Pereira" userId="S::20221204@novaims.unl.pt::75940013-b690-40af-a84a-5c6930f290a7" providerId="AD" clId="Web-{B7083FD7-1E13-4E68-93E0-908FE10CF7C7}" dt="2023-12-03T10:14:52.856" v="246" actId="1076"/>
          <ac:spMkLst>
            <pc:docMk/>
            <pc:sldMk cId="634489375" sldId="413"/>
            <ac:spMk id="3" creationId="{9224C284-5C92-1823-AE50-E325A8799A62}"/>
          </ac:spMkLst>
        </pc:spChg>
        <pc:spChg chg="add del mod">
          <ac:chgData name="Andre Miguel Cardoso Pereira" userId="S::20221204@novaims.unl.pt::75940013-b690-40af-a84a-5c6930f290a7" providerId="AD" clId="Web-{B7083FD7-1E13-4E68-93E0-908FE10CF7C7}" dt="2023-12-03T09:59:04.387" v="169"/>
          <ac:spMkLst>
            <pc:docMk/>
            <pc:sldMk cId="634489375" sldId="413"/>
            <ac:spMk id="4" creationId="{FF38BD0A-A210-A1A7-2B4E-A23B900D6D2F}"/>
          </ac:spMkLst>
        </pc:spChg>
        <pc:spChg chg="mod">
          <ac:chgData name="Andre Miguel Cardoso Pereira" userId="S::20221204@novaims.unl.pt::75940013-b690-40af-a84a-5c6930f290a7" providerId="AD" clId="Web-{B7083FD7-1E13-4E68-93E0-908FE10CF7C7}" dt="2023-12-03T11:46:19.936" v="1203" actId="20577"/>
          <ac:spMkLst>
            <pc:docMk/>
            <pc:sldMk cId="634489375" sldId="413"/>
            <ac:spMk id="6" creationId="{C58F3C76-F342-97A7-BE42-5E8976841751}"/>
          </ac:spMkLst>
        </pc:spChg>
        <pc:spChg chg="add del mod">
          <ac:chgData name="Andre Miguel Cardoso Pereira" userId="S::20221204@novaims.unl.pt::75940013-b690-40af-a84a-5c6930f290a7" providerId="AD" clId="Web-{B7083FD7-1E13-4E68-93E0-908FE10CF7C7}" dt="2023-12-03T09:59:07.138" v="170"/>
          <ac:spMkLst>
            <pc:docMk/>
            <pc:sldMk cId="634489375" sldId="413"/>
            <ac:spMk id="7" creationId="{F2DD0989-7B9F-445C-E2B7-B3ADE6F24713}"/>
          </ac:spMkLst>
        </pc:spChg>
        <pc:spChg chg="add del mod">
          <ac:chgData name="Andre Miguel Cardoso Pereira" userId="S::20221204@novaims.unl.pt::75940013-b690-40af-a84a-5c6930f290a7" providerId="AD" clId="Web-{B7083FD7-1E13-4E68-93E0-908FE10CF7C7}" dt="2023-12-03T09:59:09.872" v="174"/>
          <ac:spMkLst>
            <pc:docMk/>
            <pc:sldMk cId="634489375" sldId="413"/>
            <ac:spMk id="8" creationId="{4E0C627D-6F5E-0504-592D-6E98FEBFDCA1}"/>
          </ac:spMkLst>
        </pc:spChg>
        <pc:spChg chg="add del mod">
          <ac:chgData name="Andre Miguel Cardoso Pereira" userId="S::20221204@novaims.unl.pt::75940013-b690-40af-a84a-5c6930f290a7" providerId="AD" clId="Web-{B7083FD7-1E13-4E68-93E0-908FE10CF7C7}" dt="2023-12-03T09:59:08.450" v="172"/>
          <ac:spMkLst>
            <pc:docMk/>
            <pc:sldMk cId="634489375" sldId="413"/>
            <ac:spMk id="9" creationId="{5D1754CD-27C1-38D6-3AC6-5E68E0C21972}"/>
          </ac:spMkLst>
        </pc:spChg>
        <pc:spChg chg="add mod">
          <ac:chgData name="Andre Miguel Cardoso Pereira" userId="S::20221204@novaims.unl.pt::75940013-b690-40af-a84a-5c6930f290a7" providerId="AD" clId="Web-{B7083FD7-1E13-4E68-93E0-908FE10CF7C7}" dt="2023-12-03T10:14:52.856" v="247" actId="1076"/>
          <ac:spMkLst>
            <pc:docMk/>
            <pc:sldMk cId="634489375" sldId="413"/>
            <ac:spMk id="10" creationId="{0F5A50BD-9981-1978-EB09-86147DE57430}"/>
          </ac:spMkLst>
        </pc:spChg>
        <pc:spChg chg="add mod">
          <ac:chgData name="Andre Miguel Cardoso Pereira" userId="S::20221204@novaims.unl.pt::75940013-b690-40af-a84a-5c6930f290a7" providerId="AD" clId="Web-{B7083FD7-1E13-4E68-93E0-908FE10CF7C7}" dt="2023-12-03T10:01:50.791" v="240"/>
          <ac:spMkLst>
            <pc:docMk/>
            <pc:sldMk cId="634489375" sldId="413"/>
            <ac:spMk id="11" creationId="{3E0945C2-719F-DF29-966E-5F063E92BA68}"/>
          </ac:spMkLst>
        </pc:spChg>
        <pc:spChg chg="add mod">
          <ac:chgData name="Andre Miguel Cardoso Pereira" userId="S::20221204@novaims.unl.pt::75940013-b690-40af-a84a-5c6930f290a7" providerId="AD" clId="Web-{B7083FD7-1E13-4E68-93E0-908FE10CF7C7}" dt="2023-12-03T09:59:57.156" v="193" actId="1076"/>
          <ac:spMkLst>
            <pc:docMk/>
            <pc:sldMk cId="634489375" sldId="413"/>
            <ac:spMk id="16" creationId="{77CC35B1-4A9B-1592-51F3-00FBA29A7836}"/>
          </ac:spMkLst>
        </pc:spChg>
        <pc:spChg chg="add mod">
          <ac:chgData name="Andre Miguel Cardoso Pereira" userId="S::20221204@novaims.unl.pt::75940013-b690-40af-a84a-5c6930f290a7" providerId="AD" clId="Web-{B7083FD7-1E13-4E68-93E0-908FE10CF7C7}" dt="2023-12-03T09:59:57.156" v="194" actId="1076"/>
          <ac:spMkLst>
            <pc:docMk/>
            <pc:sldMk cId="634489375" sldId="413"/>
            <ac:spMk id="17" creationId="{5AF86F4A-67C2-703B-097E-571604218485}"/>
          </ac:spMkLst>
        </pc:spChg>
        <pc:spChg chg="add mod">
          <ac:chgData name="Andre Miguel Cardoso Pereira" userId="S::20221204@novaims.unl.pt::75940013-b690-40af-a84a-5c6930f290a7" providerId="AD" clId="Web-{B7083FD7-1E13-4E68-93E0-908FE10CF7C7}" dt="2023-12-03T10:00:24.736" v="197" actId="1076"/>
          <ac:spMkLst>
            <pc:docMk/>
            <pc:sldMk cId="634489375" sldId="413"/>
            <ac:spMk id="18" creationId="{4A9A31C5-FC0A-AD0E-A31F-E3F6992CE34B}"/>
          </ac:spMkLst>
        </pc:spChg>
        <pc:spChg chg="add mod">
          <ac:chgData name="Andre Miguel Cardoso Pereira" userId="S::20221204@novaims.unl.pt::75940013-b690-40af-a84a-5c6930f290a7" providerId="AD" clId="Web-{B7083FD7-1E13-4E68-93E0-908FE10CF7C7}" dt="2023-12-03T10:16:08.001" v="276" actId="20577"/>
          <ac:spMkLst>
            <pc:docMk/>
            <pc:sldMk cId="634489375" sldId="413"/>
            <ac:spMk id="19" creationId="{3F69AD6C-20A5-F6D0-DB56-E3EDB6889859}"/>
          </ac:spMkLst>
        </pc:spChg>
        <pc:spChg chg="add">
          <ac:chgData name="Andre Miguel Cardoso Pereira" userId="S::20221204@novaims.unl.pt::75940013-b690-40af-a84a-5c6930f290a7" providerId="AD" clId="Web-{B7083FD7-1E13-4E68-93E0-908FE10CF7C7}" dt="2023-12-03T10:00:42.771" v="214"/>
          <ac:spMkLst>
            <pc:docMk/>
            <pc:sldMk cId="634489375" sldId="413"/>
            <ac:spMk id="20" creationId="{EF938F11-A80A-C13C-BA7F-6AD6FF0CBBB2}"/>
          </ac:spMkLst>
        </pc:spChg>
        <pc:spChg chg="add mod">
          <ac:chgData name="Andre Miguel Cardoso Pereira" userId="S::20221204@novaims.unl.pt::75940013-b690-40af-a84a-5c6930f290a7" providerId="AD" clId="Web-{B7083FD7-1E13-4E68-93E0-908FE10CF7C7}" dt="2023-12-03T10:01:27.102" v="237" actId="20577"/>
          <ac:spMkLst>
            <pc:docMk/>
            <pc:sldMk cId="634489375" sldId="413"/>
            <ac:spMk id="21" creationId="{D9CD9084-F537-C959-6A6C-4E4256D87D66}"/>
          </ac:spMkLst>
        </pc:spChg>
        <pc:spChg chg="add mod">
          <ac:chgData name="Andre Miguel Cardoso Pereira" userId="S::20221204@novaims.unl.pt::75940013-b690-40af-a84a-5c6930f290a7" providerId="AD" clId="Web-{B7083FD7-1E13-4E68-93E0-908FE10CF7C7}" dt="2023-12-03T10:15:59.547" v="268" actId="1076"/>
          <ac:spMkLst>
            <pc:docMk/>
            <pc:sldMk cId="634489375" sldId="413"/>
            <ac:spMk id="25" creationId="{224F1DDA-F13B-52D7-A4F4-7444F4B6E846}"/>
          </ac:spMkLst>
        </pc:spChg>
        <pc:picChg chg="add mod">
          <ac:chgData name="Andre Miguel Cardoso Pereira" userId="S::20221204@novaims.unl.pt::75940013-b690-40af-a84a-5c6930f290a7" providerId="AD" clId="Web-{B7083FD7-1E13-4E68-93E0-908FE10CF7C7}" dt="2023-12-03T11:46:23.389" v="1204" actId="1076"/>
          <ac:picMkLst>
            <pc:docMk/>
            <pc:sldMk cId="634489375" sldId="413"/>
            <ac:picMk id="2" creationId="{28289DBD-7AF6-DA0B-E538-FFEBC8F07FCD}"/>
          </ac:picMkLst>
        </pc:picChg>
        <pc:picChg chg="add mod">
          <ac:chgData name="Andre Miguel Cardoso Pereira" userId="S::20221204@novaims.unl.pt::75940013-b690-40af-a84a-5c6930f290a7" providerId="AD" clId="Web-{B7083FD7-1E13-4E68-93E0-908FE10CF7C7}" dt="2023-12-03T10:14:48.496" v="245" actId="1076"/>
          <ac:picMkLst>
            <pc:docMk/>
            <pc:sldMk cId="634489375" sldId="413"/>
            <ac:picMk id="22" creationId="{FFB41083-A710-674E-B64A-5DBBEB5909CB}"/>
          </ac:picMkLst>
        </pc:picChg>
        <pc:picChg chg="add mod">
          <ac:chgData name="Andre Miguel Cardoso Pereira" userId="S::20221204@novaims.unl.pt::75940013-b690-40af-a84a-5c6930f290a7" providerId="AD" clId="Web-{B7083FD7-1E13-4E68-93E0-908FE10CF7C7}" dt="2023-12-03T10:15:14.935" v="255" actId="1076"/>
          <ac:picMkLst>
            <pc:docMk/>
            <pc:sldMk cId="634489375" sldId="413"/>
            <ac:picMk id="23" creationId="{0083DBAD-8D93-0CF3-7BDD-CB2A4212A5D7}"/>
          </ac:picMkLst>
        </pc:picChg>
        <pc:picChg chg="add mod">
          <ac:chgData name="Andre Miguel Cardoso Pereira" userId="S::20221204@novaims.unl.pt::75940013-b690-40af-a84a-5c6930f290a7" providerId="AD" clId="Web-{B7083FD7-1E13-4E68-93E0-908FE10CF7C7}" dt="2023-12-03T10:15:38.624" v="259" actId="1076"/>
          <ac:picMkLst>
            <pc:docMk/>
            <pc:sldMk cId="634489375" sldId="413"/>
            <ac:picMk id="24" creationId="{1703349C-D33B-D123-E2AA-A8ED6BFC3ECE}"/>
          </ac:picMkLst>
        </pc:picChg>
        <pc:cxnChg chg="add del mod">
          <ac:chgData name="Andre Miguel Cardoso Pereira" userId="S::20221204@novaims.unl.pt::75940013-b690-40af-a84a-5c6930f290a7" providerId="AD" clId="Web-{B7083FD7-1E13-4E68-93E0-908FE10CF7C7}" dt="2023-12-03T09:57:12.442" v="155"/>
          <ac:cxnSpMkLst>
            <pc:docMk/>
            <pc:sldMk cId="634489375" sldId="413"/>
            <ac:cxnSpMk id="12" creationId="{7F002C0F-03D3-DB22-B3C6-52DD9C30A0D4}"/>
          </ac:cxnSpMkLst>
        </pc:cxnChg>
        <pc:cxnChg chg="add del mod">
          <ac:chgData name="Andre Miguel Cardoso Pereira" userId="S::20221204@novaims.unl.pt::75940013-b690-40af-a84a-5c6930f290a7" providerId="AD" clId="Web-{B7083FD7-1E13-4E68-93E0-908FE10CF7C7}" dt="2023-12-03T09:57:27.818" v="161"/>
          <ac:cxnSpMkLst>
            <pc:docMk/>
            <pc:sldMk cId="634489375" sldId="413"/>
            <ac:cxnSpMk id="13" creationId="{7A3D46FD-5949-361D-2300-4678BD497902}"/>
          </ac:cxnSpMkLst>
        </pc:cxnChg>
        <pc:cxnChg chg="add del mod">
          <ac:chgData name="Andre Miguel Cardoso Pereira" userId="S::20221204@novaims.unl.pt::75940013-b690-40af-a84a-5c6930f290a7" providerId="AD" clId="Web-{B7083FD7-1E13-4E68-93E0-908FE10CF7C7}" dt="2023-12-03T09:58:34.136" v="167"/>
          <ac:cxnSpMkLst>
            <pc:docMk/>
            <pc:sldMk cId="634489375" sldId="413"/>
            <ac:cxnSpMk id="14" creationId="{001096F4-0688-45E7-CA6B-C600F08FBB59}"/>
          </ac:cxnSpMkLst>
        </pc:cxnChg>
        <pc:cxnChg chg="add del mod">
          <ac:chgData name="Andre Miguel Cardoso Pereira" userId="S::20221204@novaims.unl.pt::75940013-b690-40af-a84a-5c6930f290a7" providerId="AD" clId="Web-{B7083FD7-1E13-4E68-93E0-908FE10CF7C7}" dt="2023-12-03T09:59:26.561" v="179"/>
          <ac:cxnSpMkLst>
            <pc:docMk/>
            <pc:sldMk cId="634489375" sldId="413"/>
            <ac:cxnSpMk id="15" creationId="{3C35C20D-8F98-E446-9DE5-4E2B83752D28}"/>
          </ac:cxnSpMkLst>
        </pc:cxnChg>
      </pc:sldChg>
      <pc:sldChg chg="addSp modSp">
        <pc:chgData name="Andre Miguel Cardoso Pereira" userId="S::20221204@novaims.unl.pt::75940013-b690-40af-a84a-5c6930f290a7" providerId="AD" clId="Web-{B7083FD7-1E13-4E68-93E0-908FE10CF7C7}" dt="2023-12-03T11:08:18.333" v="332" actId="20577"/>
        <pc:sldMkLst>
          <pc:docMk/>
          <pc:sldMk cId="3874075115" sldId="414"/>
        </pc:sldMkLst>
        <pc:spChg chg="mod">
          <ac:chgData name="Andre Miguel Cardoso Pereira" userId="S::20221204@novaims.unl.pt::75940013-b690-40af-a84a-5c6930f290a7" providerId="AD" clId="Web-{B7083FD7-1E13-4E68-93E0-908FE10CF7C7}" dt="2023-12-03T11:08:18.333" v="332" actId="20577"/>
          <ac:spMkLst>
            <pc:docMk/>
            <pc:sldMk cId="3874075115" sldId="414"/>
            <ac:spMk id="4" creationId="{6A8EF02D-F018-0C29-66DC-F8D0129401EA}"/>
          </ac:spMkLst>
        </pc:spChg>
        <pc:picChg chg="add mod">
          <ac:chgData name="Andre Miguel Cardoso Pereira" userId="S::20221204@novaims.unl.pt::75940013-b690-40af-a84a-5c6930f290a7" providerId="AD" clId="Web-{B7083FD7-1E13-4E68-93E0-908FE10CF7C7}" dt="2023-12-03T11:08:11.004" v="325" actId="1076"/>
          <ac:picMkLst>
            <pc:docMk/>
            <pc:sldMk cId="3874075115" sldId="414"/>
            <ac:picMk id="2" creationId="{23E45DDC-DF3C-3DE9-AB9B-7B154F4B5D72}"/>
          </ac:picMkLst>
        </pc:picChg>
      </pc:sldChg>
      <pc:sldChg chg="modSp add replId">
        <pc:chgData name="Andre Miguel Cardoso Pereira" userId="S::20221204@novaims.unl.pt::75940013-b690-40af-a84a-5c6930f290a7" providerId="AD" clId="Web-{B7083FD7-1E13-4E68-93E0-908FE10CF7C7}" dt="2023-12-03T11:08:49.068" v="340" actId="14100"/>
        <pc:sldMkLst>
          <pc:docMk/>
          <pc:sldMk cId="895827741" sldId="416"/>
        </pc:sldMkLst>
        <pc:spChg chg="mod">
          <ac:chgData name="Andre Miguel Cardoso Pereira" userId="S::20221204@novaims.unl.pt::75940013-b690-40af-a84a-5c6930f290a7" providerId="AD" clId="Web-{B7083FD7-1E13-4E68-93E0-908FE10CF7C7}" dt="2023-12-03T11:08:49.068" v="340" actId="14100"/>
          <ac:spMkLst>
            <pc:docMk/>
            <pc:sldMk cId="895827741" sldId="416"/>
            <ac:spMk id="4" creationId="{6A8EF02D-F018-0C29-66DC-F8D0129401EA}"/>
          </ac:spMkLst>
        </pc:spChg>
        <pc:picChg chg="mod">
          <ac:chgData name="Andre Miguel Cardoso Pereira" userId="S::20221204@novaims.unl.pt::75940013-b690-40af-a84a-5c6930f290a7" providerId="AD" clId="Web-{B7083FD7-1E13-4E68-93E0-908FE10CF7C7}" dt="2023-12-03T11:08:37.911" v="334"/>
          <ac:picMkLst>
            <pc:docMk/>
            <pc:sldMk cId="895827741" sldId="416"/>
            <ac:picMk id="2" creationId="{23E45DDC-DF3C-3DE9-AB9B-7B154F4B5D72}"/>
          </ac:picMkLst>
        </pc:picChg>
      </pc:sldChg>
      <pc:sldChg chg="modSp add replId">
        <pc:chgData name="Andre Miguel Cardoso Pereira" userId="S::20221204@novaims.unl.pt::75940013-b690-40af-a84a-5c6930f290a7" providerId="AD" clId="Web-{B7083FD7-1E13-4E68-93E0-908FE10CF7C7}" dt="2023-12-03T11:10:44.212" v="377"/>
        <pc:sldMkLst>
          <pc:docMk/>
          <pc:sldMk cId="825725043" sldId="417"/>
        </pc:sldMkLst>
        <pc:spChg chg="mod">
          <ac:chgData name="Andre Miguel Cardoso Pereira" userId="S::20221204@novaims.unl.pt::75940013-b690-40af-a84a-5c6930f290a7" providerId="AD" clId="Web-{B7083FD7-1E13-4E68-93E0-908FE10CF7C7}" dt="2023-12-03T11:10:34.508" v="376" actId="20577"/>
          <ac:spMkLst>
            <pc:docMk/>
            <pc:sldMk cId="825725043" sldId="417"/>
            <ac:spMk id="4" creationId="{6A8EF02D-F018-0C29-66DC-F8D0129401EA}"/>
          </ac:spMkLst>
        </pc:spChg>
        <pc:picChg chg="mod">
          <ac:chgData name="Andre Miguel Cardoso Pereira" userId="S::20221204@novaims.unl.pt::75940013-b690-40af-a84a-5c6930f290a7" providerId="AD" clId="Web-{B7083FD7-1E13-4E68-93E0-908FE10CF7C7}" dt="2023-12-03T11:10:44.212" v="377"/>
          <ac:picMkLst>
            <pc:docMk/>
            <pc:sldMk cId="825725043" sldId="417"/>
            <ac:picMk id="2" creationId="{23E45DDC-DF3C-3DE9-AB9B-7B154F4B5D72}"/>
          </ac:picMkLst>
        </pc:picChg>
      </pc:sldChg>
      <pc:sldChg chg="addSp delSp modSp add replId">
        <pc:chgData name="Andre Miguel Cardoso Pereira" userId="S::20221204@novaims.unl.pt::75940013-b690-40af-a84a-5c6930f290a7" providerId="AD" clId="Web-{B7083FD7-1E13-4E68-93E0-908FE10CF7C7}" dt="2023-12-03T11:32:49.035" v="542" actId="1076"/>
        <pc:sldMkLst>
          <pc:docMk/>
          <pc:sldMk cId="1928397205" sldId="418"/>
        </pc:sldMkLst>
        <pc:spChg chg="mod">
          <ac:chgData name="Andre Miguel Cardoso Pereira" userId="S::20221204@novaims.unl.pt::75940013-b690-40af-a84a-5c6930f290a7" providerId="AD" clId="Web-{B7083FD7-1E13-4E68-93E0-908FE10CF7C7}" dt="2023-12-03T11:32:41.878" v="540" actId="20577"/>
          <ac:spMkLst>
            <pc:docMk/>
            <pc:sldMk cId="1928397205" sldId="418"/>
            <ac:spMk id="4" creationId="{6A8EF02D-F018-0C29-66DC-F8D0129401EA}"/>
          </ac:spMkLst>
        </pc:spChg>
        <pc:picChg chg="del">
          <ac:chgData name="Andre Miguel Cardoso Pereira" userId="S::20221204@novaims.unl.pt::75940013-b690-40af-a84a-5c6930f290a7" providerId="AD" clId="Web-{B7083FD7-1E13-4E68-93E0-908FE10CF7C7}" dt="2023-12-03T11:28:16.246" v="445"/>
          <ac:picMkLst>
            <pc:docMk/>
            <pc:sldMk cId="1928397205" sldId="418"/>
            <ac:picMk id="2" creationId="{23E45DDC-DF3C-3DE9-AB9B-7B154F4B5D72}"/>
          </ac:picMkLst>
        </pc:picChg>
        <pc:picChg chg="add mod">
          <ac:chgData name="Andre Miguel Cardoso Pereira" userId="S::20221204@novaims.unl.pt::75940013-b690-40af-a84a-5c6930f290a7" providerId="AD" clId="Web-{B7083FD7-1E13-4E68-93E0-908FE10CF7C7}" dt="2023-12-03T11:32:46.285" v="541" actId="1076"/>
          <ac:picMkLst>
            <pc:docMk/>
            <pc:sldMk cId="1928397205" sldId="418"/>
            <ac:picMk id="3" creationId="{C9F89CF5-9B56-7B54-B39F-CE73D25177EE}"/>
          </ac:picMkLst>
        </pc:picChg>
        <pc:picChg chg="add mod">
          <ac:chgData name="Andre Miguel Cardoso Pereira" userId="S::20221204@novaims.unl.pt::75940013-b690-40af-a84a-5c6930f290a7" providerId="AD" clId="Web-{B7083FD7-1E13-4E68-93E0-908FE10CF7C7}" dt="2023-12-03T11:32:49.035" v="542" actId="1076"/>
          <ac:picMkLst>
            <pc:docMk/>
            <pc:sldMk cId="1928397205" sldId="418"/>
            <ac:picMk id="5" creationId="{7BDDC504-4999-0EFF-56AB-28D18779C6BD}"/>
          </ac:picMkLst>
        </pc:picChg>
      </pc:sldChg>
      <pc:sldChg chg="addSp delSp modSp add del replId">
        <pc:chgData name="Andre Miguel Cardoso Pereira" userId="S::20221204@novaims.unl.pt::75940013-b690-40af-a84a-5c6930f290a7" providerId="AD" clId="Web-{B7083FD7-1E13-4E68-93E0-908FE10CF7C7}" dt="2023-12-03T11:33:08.192" v="545"/>
        <pc:sldMkLst>
          <pc:docMk/>
          <pc:sldMk cId="4158548293" sldId="419"/>
        </pc:sldMkLst>
        <pc:spChg chg="del mod">
          <ac:chgData name="Andre Miguel Cardoso Pereira" userId="S::20221204@novaims.unl.pt::75940013-b690-40af-a84a-5c6930f290a7" providerId="AD" clId="Web-{B7083FD7-1E13-4E68-93E0-908FE10CF7C7}" dt="2023-12-03T11:33:06.551" v="543"/>
          <ac:spMkLst>
            <pc:docMk/>
            <pc:sldMk cId="4158548293" sldId="419"/>
            <ac:spMk id="4" creationId="{6A8EF02D-F018-0C29-66DC-F8D0129401EA}"/>
          </ac:spMkLst>
        </pc:spChg>
        <pc:spChg chg="add mod">
          <ac:chgData name="Andre Miguel Cardoso Pereira" userId="S::20221204@novaims.unl.pt::75940013-b690-40af-a84a-5c6930f290a7" providerId="AD" clId="Web-{B7083FD7-1E13-4E68-93E0-908FE10CF7C7}" dt="2023-12-03T11:33:06.551" v="543"/>
          <ac:spMkLst>
            <pc:docMk/>
            <pc:sldMk cId="4158548293" sldId="419"/>
            <ac:spMk id="6" creationId="{52C35FF3-E763-4453-E9BE-5951D6E3DEB5}"/>
          </ac:spMkLst>
        </pc:spChg>
        <pc:spChg chg="add">
          <ac:chgData name="Andre Miguel Cardoso Pereira" userId="S::20221204@novaims.unl.pt::75940013-b690-40af-a84a-5c6930f290a7" providerId="AD" clId="Web-{B7083FD7-1E13-4E68-93E0-908FE10CF7C7}" dt="2023-12-03T11:33:06.754" v="544"/>
          <ac:spMkLst>
            <pc:docMk/>
            <pc:sldMk cId="4158548293" sldId="419"/>
            <ac:spMk id="8" creationId="{84FF0F9B-7AEB-B73E-3C03-59575F682D3B}"/>
          </ac:spMkLst>
        </pc:spChg>
        <pc:picChg chg="mod">
          <ac:chgData name="Andre Miguel Cardoso Pereira" userId="S::20221204@novaims.unl.pt::75940013-b690-40af-a84a-5c6930f290a7" providerId="AD" clId="Web-{B7083FD7-1E13-4E68-93E0-908FE10CF7C7}" dt="2023-12-03T11:29:17.201" v="466"/>
          <ac:picMkLst>
            <pc:docMk/>
            <pc:sldMk cId="4158548293" sldId="419"/>
            <ac:picMk id="3" creationId="{C9F89CF5-9B56-7B54-B39F-CE73D25177EE}"/>
          </ac:picMkLst>
        </pc:picChg>
        <pc:picChg chg="mod">
          <ac:chgData name="Andre Miguel Cardoso Pereira" userId="S::20221204@novaims.unl.pt::75940013-b690-40af-a84a-5c6930f290a7" providerId="AD" clId="Web-{B7083FD7-1E13-4E68-93E0-908FE10CF7C7}" dt="2023-12-03T11:29:24.654" v="467"/>
          <ac:picMkLst>
            <pc:docMk/>
            <pc:sldMk cId="4158548293" sldId="419"/>
            <ac:picMk id="5" creationId="{7BDDC504-4999-0EFF-56AB-28D18779C6BD}"/>
          </ac:picMkLst>
        </pc:picChg>
      </pc:sldChg>
      <pc:sldChg chg="modSp add del replId">
        <pc:chgData name="Andre Miguel Cardoso Pereira" userId="S::20221204@novaims.unl.pt::75940013-b690-40af-a84a-5c6930f290a7" providerId="AD" clId="Web-{B7083FD7-1E13-4E68-93E0-908FE10CF7C7}" dt="2023-12-03T11:33:08.364" v="546"/>
        <pc:sldMkLst>
          <pc:docMk/>
          <pc:sldMk cId="793130176" sldId="420"/>
        </pc:sldMkLst>
        <pc:spChg chg="mod">
          <ac:chgData name="Andre Miguel Cardoso Pereira" userId="S::20221204@novaims.unl.pt::75940013-b690-40af-a84a-5c6930f290a7" providerId="AD" clId="Web-{B7083FD7-1E13-4E68-93E0-908FE10CF7C7}" dt="2023-12-03T11:29:38.061" v="471" actId="20577"/>
          <ac:spMkLst>
            <pc:docMk/>
            <pc:sldMk cId="793130176" sldId="420"/>
            <ac:spMk id="4" creationId="{6A8EF02D-F018-0C29-66DC-F8D0129401EA}"/>
          </ac:spMkLst>
        </pc:spChg>
        <pc:picChg chg="mod">
          <ac:chgData name="Andre Miguel Cardoso Pereira" userId="S::20221204@novaims.unl.pt::75940013-b690-40af-a84a-5c6930f290a7" providerId="AD" clId="Web-{B7083FD7-1E13-4E68-93E0-908FE10CF7C7}" dt="2023-12-03T11:29:45.483" v="472"/>
          <ac:picMkLst>
            <pc:docMk/>
            <pc:sldMk cId="793130176" sldId="420"/>
            <ac:picMk id="3" creationId="{C9F89CF5-9B56-7B54-B39F-CE73D25177EE}"/>
          </ac:picMkLst>
        </pc:picChg>
        <pc:picChg chg="mod">
          <ac:chgData name="Andre Miguel Cardoso Pereira" userId="S::20221204@novaims.unl.pt::75940013-b690-40af-a84a-5c6930f290a7" providerId="AD" clId="Web-{B7083FD7-1E13-4E68-93E0-908FE10CF7C7}" dt="2023-12-03T11:29:53.139" v="473"/>
          <ac:picMkLst>
            <pc:docMk/>
            <pc:sldMk cId="793130176" sldId="420"/>
            <ac:picMk id="5" creationId="{7BDDC504-4999-0EFF-56AB-28D18779C6BD}"/>
          </ac:picMkLst>
        </pc:picChg>
      </pc:sldChg>
      <pc:sldChg chg="modSp add del replId">
        <pc:chgData name="Andre Miguel Cardoso Pereira" userId="S::20221204@novaims.unl.pt::75940013-b690-40af-a84a-5c6930f290a7" providerId="AD" clId="Web-{B7083FD7-1E13-4E68-93E0-908FE10CF7C7}" dt="2023-12-03T11:33:08.786" v="547"/>
        <pc:sldMkLst>
          <pc:docMk/>
          <pc:sldMk cId="3443687732" sldId="421"/>
        </pc:sldMkLst>
        <pc:spChg chg="mod">
          <ac:chgData name="Andre Miguel Cardoso Pereira" userId="S::20221204@novaims.unl.pt::75940013-b690-40af-a84a-5c6930f290a7" providerId="AD" clId="Web-{B7083FD7-1E13-4E68-93E0-908FE10CF7C7}" dt="2023-12-03T11:30:18.937" v="477" actId="20577"/>
          <ac:spMkLst>
            <pc:docMk/>
            <pc:sldMk cId="3443687732" sldId="421"/>
            <ac:spMk id="4" creationId="{6A8EF02D-F018-0C29-66DC-F8D0129401EA}"/>
          </ac:spMkLst>
        </pc:spChg>
        <pc:picChg chg="mod">
          <ac:chgData name="Andre Miguel Cardoso Pereira" userId="S::20221204@novaims.unl.pt::75940013-b690-40af-a84a-5c6930f290a7" providerId="AD" clId="Web-{B7083FD7-1E13-4E68-93E0-908FE10CF7C7}" dt="2023-12-03T11:30:27.312" v="478"/>
          <ac:picMkLst>
            <pc:docMk/>
            <pc:sldMk cId="3443687732" sldId="421"/>
            <ac:picMk id="3" creationId="{C9F89CF5-9B56-7B54-B39F-CE73D25177EE}"/>
          </ac:picMkLst>
        </pc:picChg>
        <pc:picChg chg="mod">
          <ac:chgData name="Andre Miguel Cardoso Pereira" userId="S::20221204@novaims.unl.pt::75940013-b690-40af-a84a-5c6930f290a7" providerId="AD" clId="Web-{B7083FD7-1E13-4E68-93E0-908FE10CF7C7}" dt="2023-12-03T11:30:35.094" v="479"/>
          <ac:picMkLst>
            <pc:docMk/>
            <pc:sldMk cId="3443687732" sldId="421"/>
            <ac:picMk id="5" creationId="{7BDDC504-4999-0EFF-56AB-28D18779C6BD}"/>
          </ac:picMkLst>
        </pc:picChg>
      </pc:sldChg>
      <pc:sldChg chg="addSp delSp modSp add ord replId">
        <pc:chgData name="Andre Miguel Cardoso Pereira" userId="S::20221204@novaims.unl.pt::75940013-b690-40af-a84a-5c6930f290a7" providerId="AD" clId="Web-{B7083FD7-1E13-4E68-93E0-908FE10CF7C7}" dt="2023-12-03T11:32:23.362" v="520" actId="20577"/>
        <pc:sldMkLst>
          <pc:docMk/>
          <pc:sldMk cId="4045992318" sldId="422"/>
        </pc:sldMkLst>
        <pc:spChg chg="mod">
          <ac:chgData name="Andre Miguel Cardoso Pereira" userId="S::20221204@novaims.unl.pt::75940013-b690-40af-a84a-5c6930f290a7" providerId="AD" clId="Web-{B7083FD7-1E13-4E68-93E0-908FE10CF7C7}" dt="2023-12-03T11:32:23.362" v="520" actId="20577"/>
          <ac:spMkLst>
            <pc:docMk/>
            <pc:sldMk cId="4045992318" sldId="422"/>
            <ac:spMk id="4" creationId="{6A8EF02D-F018-0C29-66DC-F8D0129401EA}"/>
          </ac:spMkLst>
        </pc:spChg>
        <pc:picChg chg="add mod">
          <ac:chgData name="Andre Miguel Cardoso Pereira" userId="S::20221204@novaims.unl.pt::75940013-b690-40af-a84a-5c6930f290a7" providerId="AD" clId="Web-{B7083FD7-1E13-4E68-93E0-908FE10CF7C7}" dt="2023-12-03T11:31:29.392" v="507" actId="1076"/>
          <ac:picMkLst>
            <pc:docMk/>
            <pc:sldMk cId="4045992318" sldId="422"/>
            <ac:picMk id="2" creationId="{25C49850-C5C5-A02F-EBB7-C135C55D8CF4}"/>
          </ac:picMkLst>
        </pc:picChg>
        <pc:picChg chg="del">
          <ac:chgData name="Andre Miguel Cardoso Pereira" userId="S::20221204@novaims.unl.pt::75940013-b690-40af-a84a-5c6930f290a7" providerId="AD" clId="Web-{B7083FD7-1E13-4E68-93E0-908FE10CF7C7}" dt="2023-12-03T11:30:58.235" v="500"/>
          <ac:picMkLst>
            <pc:docMk/>
            <pc:sldMk cId="4045992318" sldId="422"/>
            <ac:picMk id="3" creationId="{C9F89CF5-9B56-7B54-B39F-CE73D25177EE}"/>
          </ac:picMkLst>
        </pc:picChg>
        <pc:picChg chg="del">
          <ac:chgData name="Andre Miguel Cardoso Pereira" userId="S::20221204@novaims.unl.pt::75940013-b690-40af-a84a-5c6930f290a7" providerId="AD" clId="Web-{B7083FD7-1E13-4E68-93E0-908FE10CF7C7}" dt="2023-12-03T11:30:58.235" v="499"/>
          <ac:picMkLst>
            <pc:docMk/>
            <pc:sldMk cId="4045992318" sldId="422"/>
            <ac:picMk id="5" creationId="{7BDDC504-4999-0EFF-56AB-28D18779C6BD}"/>
          </ac:picMkLst>
        </pc:picChg>
      </pc:sldChg>
      <pc:sldChg chg="modSp add replId">
        <pc:chgData name="Andre Miguel Cardoso Pereira" userId="S::20221204@novaims.unl.pt::75940013-b690-40af-a84a-5c6930f290a7" providerId="AD" clId="Web-{B7083FD7-1E13-4E68-93E0-908FE10CF7C7}" dt="2023-12-03T11:33:44.349" v="559"/>
        <pc:sldMkLst>
          <pc:docMk/>
          <pc:sldMk cId="1194102232" sldId="423"/>
        </pc:sldMkLst>
        <pc:spChg chg="mod">
          <ac:chgData name="Andre Miguel Cardoso Pereira" userId="S::20221204@novaims.unl.pt::75940013-b690-40af-a84a-5c6930f290a7" providerId="AD" clId="Web-{B7083FD7-1E13-4E68-93E0-908FE10CF7C7}" dt="2023-12-03T11:33:27.974" v="557" actId="20577"/>
          <ac:spMkLst>
            <pc:docMk/>
            <pc:sldMk cId="1194102232" sldId="423"/>
            <ac:spMk id="4" creationId="{6A8EF02D-F018-0C29-66DC-F8D0129401EA}"/>
          </ac:spMkLst>
        </pc:spChg>
        <pc:picChg chg="mod">
          <ac:chgData name="Andre Miguel Cardoso Pereira" userId="S::20221204@novaims.unl.pt::75940013-b690-40af-a84a-5c6930f290a7" providerId="AD" clId="Web-{B7083FD7-1E13-4E68-93E0-908FE10CF7C7}" dt="2023-12-03T11:33:36.974" v="558"/>
          <ac:picMkLst>
            <pc:docMk/>
            <pc:sldMk cId="1194102232" sldId="423"/>
            <ac:picMk id="3" creationId="{C9F89CF5-9B56-7B54-B39F-CE73D25177EE}"/>
          </ac:picMkLst>
        </pc:picChg>
        <pc:picChg chg="mod">
          <ac:chgData name="Andre Miguel Cardoso Pereira" userId="S::20221204@novaims.unl.pt::75940013-b690-40af-a84a-5c6930f290a7" providerId="AD" clId="Web-{B7083FD7-1E13-4E68-93E0-908FE10CF7C7}" dt="2023-12-03T11:33:44.349" v="559"/>
          <ac:picMkLst>
            <pc:docMk/>
            <pc:sldMk cId="1194102232" sldId="423"/>
            <ac:picMk id="5" creationId="{7BDDC504-4999-0EFF-56AB-28D18779C6BD}"/>
          </ac:picMkLst>
        </pc:picChg>
      </pc:sldChg>
      <pc:sldChg chg="modSp add replId">
        <pc:chgData name="Andre Miguel Cardoso Pereira" userId="S::20221204@novaims.unl.pt::75940013-b690-40af-a84a-5c6930f290a7" providerId="AD" clId="Web-{B7083FD7-1E13-4E68-93E0-908FE10CF7C7}" dt="2023-12-03T11:34:04.897" v="562"/>
        <pc:sldMkLst>
          <pc:docMk/>
          <pc:sldMk cId="2154395442" sldId="424"/>
        </pc:sldMkLst>
        <pc:spChg chg="mod">
          <ac:chgData name="Andre Miguel Cardoso Pereira" userId="S::20221204@novaims.unl.pt::75940013-b690-40af-a84a-5c6930f290a7" providerId="AD" clId="Web-{B7083FD7-1E13-4E68-93E0-908FE10CF7C7}" dt="2023-12-03T11:33:50.599" v="560" actId="20577"/>
          <ac:spMkLst>
            <pc:docMk/>
            <pc:sldMk cId="2154395442" sldId="424"/>
            <ac:spMk id="4" creationId="{6A8EF02D-F018-0C29-66DC-F8D0129401EA}"/>
          </ac:spMkLst>
        </pc:spChg>
        <pc:picChg chg="mod">
          <ac:chgData name="Andre Miguel Cardoso Pereira" userId="S::20221204@novaims.unl.pt::75940013-b690-40af-a84a-5c6930f290a7" providerId="AD" clId="Web-{B7083FD7-1E13-4E68-93E0-908FE10CF7C7}" dt="2023-12-03T11:34:04.897" v="562"/>
          <ac:picMkLst>
            <pc:docMk/>
            <pc:sldMk cId="2154395442" sldId="424"/>
            <ac:picMk id="5" creationId="{7BDDC504-4999-0EFF-56AB-28D18779C6BD}"/>
          </ac:picMkLst>
        </pc:picChg>
      </pc:sldChg>
      <pc:sldChg chg="modSp add replId">
        <pc:chgData name="Andre Miguel Cardoso Pereira" userId="S::20221204@novaims.unl.pt::75940013-b690-40af-a84a-5c6930f290a7" providerId="AD" clId="Web-{B7083FD7-1E13-4E68-93E0-908FE10CF7C7}" dt="2023-12-03T11:34:45.741" v="571"/>
        <pc:sldMkLst>
          <pc:docMk/>
          <pc:sldMk cId="3671253465" sldId="425"/>
        </pc:sldMkLst>
        <pc:spChg chg="mod">
          <ac:chgData name="Andre Miguel Cardoso Pereira" userId="S::20221204@novaims.unl.pt::75940013-b690-40af-a84a-5c6930f290a7" providerId="AD" clId="Web-{B7083FD7-1E13-4E68-93E0-908FE10CF7C7}" dt="2023-12-03T11:34:31.460" v="569" actId="20577"/>
          <ac:spMkLst>
            <pc:docMk/>
            <pc:sldMk cId="3671253465" sldId="425"/>
            <ac:spMk id="4" creationId="{6A8EF02D-F018-0C29-66DC-F8D0129401EA}"/>
          </ac:spMkLst>
        </pc:spChg>
        <pc:picChg chg="mod">
          <ac:chgData name="Andre Miguel Cardoso Pereira" userId="S::20221204@novaims.unl.pt::75940013-b690-40af-a84a-5c6930f290a7" providerId="AD" clId="Web-{B7083FD7-1E13-4E68-93E0-908FE10CF7C7}" dt="2023-12-03T11:34:39.710" v="570"/>
          <ac:picMkLst>
            <pc:docMk/>
            <pc:sldMk cId="3671253465" sldId="425"/>
            <ac:picMk id="3" creationId="{C9F89CF5-9B56-7B54-B39F-CE73D25177EE}"/>
          </ac:picMkLst>
        </pc:picChg>
        <pc:picChg chg="mod">
          <ac:chgData name="Andre Miguel Cardoso Pereira" userId="S::20221204@novaims.unl.pt::75940013-b690-40af-a84a-5c6930f290a7" providerId="AD" clId="Web-{B7083FD7-1E13-4E68-93E0-908FE10CF7C7}" dt="2023-12-03T11:34:45.741" v="571"/>
          <ac:picMkLst>
            <pc:docMk/>
            <pc:sldMk cId="3671253465" sldId="425"/>
            <ac:picMk id="5" creationId="{7BDDC504-4999-0EFF-56AB-28D18779C6BD}"/>
          </ac:picMkLst>
        </pc:picChg>
      </pc:sldChg>
      <pc:sldChg chg="delSp modSp add replId addCm">
        <pc:chgData name="Andre Miguel Cardoso Pereira" userId="S::20221204@novaims.unl.pt::75940013-b690-40af-a84a-5c6930f290a7" providerId="AD" clId="Web-{B7083FD7-1E13-4E68-93E0-908FE10CF7C7}" dt="2023-12-03T11:44:24.167" v="1025" actId="20577"/>
        <pc:sldMkLst>
          <pc:docMk/>
          <pc:sldMk cId="2609227886" sldId="426"/>
        </pc:sldMkLst>
        <pc:spChg chg="del">
          <ac:chgData name="Andre Miguel Cardoso Pereira" userId="S::20221204@novaims.unl.pt::75940013-b690-40af-a84a-5c6930f290a7" providerId="AD" clId="Web-{B7083FD7-1E13-4E68-93E0-908FE10CF7C7}" dt="2023-12-03T11:35:23.196" v="577"/>
          <ac:spMkLst>
            <pc:docMk/>
            <pc:sldMk cId="2609227886" sldId="426"/>
            <ac:spMk id="5" creationId="{811F3422-71BB-A629-01DF-445ECAFBBB3F}"/>
          </ac:spMkLst>
        </pc:spChg>
        <pc:spChg chg="mod">
          <ac:chgData name="Andre Miguel Cardoso Pereira" userId="S::20221204@novaims.unl.pt::75940013-b690-40af-a84a-5c6930f290a7" providerId="AD" clId="Web-{B7083FD7-1E13-4E68-93E0-908FE10CF7C7}" dt="2023-12-03T11:44:24.167" v="1025" actId="20577"/>
          <ac:spMkLst>
            <pc:docMk/>
            <pc:sldMk cId="2609227886" sldId="426"/>
            <ac:spMk id="6" creationId="{79CA3511-C50B-4811-D22F-721555BD92E6}"/>
          </ac:spMkLst>
        </pc:spChg>
        <pc:spChg chg="mod">
          <ac:chgData name="Andre Miguel Cardoso Pereira" userId="S::20221204@novaims.unl.pt::75940013-b690-40af-a84a-5c6930f290a7" providerId="AD" clId="Web-{B7083FD7-1E13-4E68-93E0-908FE10CF7C7}" dt="2023-12-03T11:41:42.865" v="919" actId="14100"/>
          <ac:spMkLst>
            <pc:docMk/>
            <pc:sldMk cId="2609227886" sldId="426"/>
            <ac:spMk id="7" creationId="{80E48CC2-03B3-97B4-77F5-08B0B7EC5839}"/>
          </ac:spMkLst>
        </pc:spChg>
        <pc:spChg chg="mod">
          <ac:chgData name="Andre Miguel Cardoso Pereira" userId="S::20221204@novaims.unl.pt::75940013-b690-40af-a84a-5c6930f290a7" providerId="AD" clId="Web-{B7083FD7-1E13-4E68-93E0-908FE10CF7C7}" dt="2023-12-03T11:41:49.022" v="921" actId="14100"/>
          <ac:spMkLst>
            <pc:docMk/>
            <pc:sldMk cId="2609227886" sldId="426"/>
            <ac:spMk id="8" creationId="{57F82214-0BF1-31AD-3ED7-EF8E2BEAC4C5}"/>
          </ac:spMkLst>
        </pc:spChg>
        <pc:spChg chg="mod">
          <ac:chgData name="Andre Miguel Cardoso Pereira" userId="S::20221204@novaims.unl.pt::75940013-b690-40af-a84a-5c6930f290a7" providerId="AD" clId="Web-{B7083FD7-1E13-4E68-93E0-908FE10CF7C7}" dt="2023-12-03T11:41:57.553" v="923" actId="14100"/>
          <ac:spMkLst>
            <pc:docMk/>
            <pc:sldMk cId="2609227886" sldId="426"/>
            <ac:spMk id="9" creationId="{7C30CBD1-319F-B9AD-1020-96449A7C787B}"/>
          </ac:spMkLst>
        </pc:spChg>
        <pc:spChg chg="del mod">
          <ac:chgData name="Andre Miguel Cardoso Pereira" userId="S::20221204@novaims.unl.pt::75940013-b690-40af-a84a-5c6930f290a7" providerId="AD" clId="Web-{B7083FD7-1E13-4E68-93E0-908FE10CF7C7}" dt="2023-12-03T11:35:34.462" v="586"/>
          <ac:spMkLst>
            <pc:docMk/>
            <pc:sldMk cId="2609227886" sldId="426"/>
            <ac:spMk id="10" creationId="{1E52209E-90B8-DCEA-A93C-0C5D2EAFA14C}"/>
          </ac:spMkLst>
        </pc:spChg>
        <pc:spChg chg="del">
          <ac:chgData name="Andre Miguel Cardoso Pereira" userId="S::20221204@novaims.unl.pt::75940013-b690-40af-a84a-5c6930f290a7" providerId="AD" clId="Web-{B7083FD7-1E13-4E68-93E0-908FE10CF7C7}" dt="2023-12-03T11:35:32.868" v="583"/>
          <ac:spMkLst>
            <pc:docMk/>
            <pc:sldMk cId="2609227886" sldId="426"/>
            <ac:spMk id="11" creationId="{D9AEC155-229F-B02F-7142-0F7EA9F95CF0}"/>
          </ac:spMkLst>
        </pc:spChg>
        <pc:spChg chg="del">
          <ac:chgData name="Andre Miguel Cardoso Pereira" userId="S::20221204@novaims.unl.pt::75940013-b690-40af-a84a-5c6930f290a7" providerId="AD" clId="Web-{B7083FD7-1E13-4E68-93E0-908FE10CF7C7}" dt="2023-12-03T11:35:35.399" v="587"/>
          <ac:spMkLst>
            <pc:docMk/>
            <pc:sldMk cId="2609227886" sldId="426"/>
            <ac:spMk id="12" creationId="{F22AAA1E-4374-DC1A-A1F5-7A17BE415BED}"/>
          </ac:spMkLst>
        </pc:spChg>
        <pc:spChg chg="del">
          <ac:chgData name="Andre Miguel Cardoso Pereira" userId="S::20221204@novaims.unl.pt::75940013-b690-40af-a84a-5c6930f290a7" providerId="AD" clId="Web-{B7083FD7-1E13-4E68-93E0-908FE10CF7C7}" dt="2023-12-03T11:36:05.463" v="596"/>
          <ac:spMkLst>
            <pc:docMk/>
            <pc:sldMk cId="2609227886" sldId="426"/>
            <ac:spMk id="14" creationId="{CCAE6005-362A-CBAB-C43E-A6E619B5C09C}"/>
          </ac:spMkLst>
        </pc:spChg>
        <pc:graphicFrameChg chg="del mod modGraphic">
          <ac:chgData name="Andre Miguel Cardoso Pereira" userId="S::20221204@novaims.unl.pt::75940013-b690-40af-a84a-5c6930f290a7" providerId="AD" clId="Web-{B7083FD7-1E13-4E68-93E0-908FE10CF7C7}" dt="2023-12-03T11:35:31.915" v="582"/>
          <ac:graphicFrameMkLst>
            <pc:docMk/>
            <pc:sldMk cId="2609227886" sldId="426"/>
            <ac:graphicFrameMk id="2" creationId="{06DF4279-45A6-7AD2-E1A1-2228FCDC62E9}"/>
          </ac:graphicFrameMkLst>
        </pc:graphicFrameChg>
        <pc:picChg chg="mod">
          <ac:chgData name="Andre Miguel Cardoso Pereira" userId="S::20221204@novaims.unl.pt::75940013-b690-40af-a84a-5c6930f290a7" providerId="AD" clId="Web-{B7083FD7-1E13-4E68-93E0-908FE10CF7C7}" dt="2023-12-03T11:42:00.741" v="924" actId="1076"/>
          <ac:picMkLst>
            <pc:docMk/>
            <pc:sldMk cId="2609227886" sldId="426"/>
            <ac:picMk id="13" creationId="{9F828BE4-2F00-C08B-A50E-32D367EEF576}"/>
          </ac:picMkLst>
        </pc:picChg>
      </pc:sldChg>
    </pc:docChg>
  </pc:docChgLst>
  <pc:docChgLst>
    <pc:chgData name="Irina Keis" userId="56f9a881-46b7-4ded-bd86-4ecf61719e5e" providerId="ADAL" clId="{3FC84C9B-92AB-4102-B8A4-8DF3AFA18152}"/>
    <pc:docChg chg="undo custSel addSld delSld modSld">
      <pc:chgData name="Irina Keis" userId="56f9a881-46b7-4ded-bd86-4ecf61719e5e" providerId="ADAL" clId="{3FC84C9B-92AB-4102-B8A4-8DF3AFA18152}" dt="2023-12-03T16:26:51.497" v="1956" actId="2056"/>
      <pc:docMkLst>
        <pc:docMk/>
      </pc:docMkLst>
      <pc:sldChg chg="modSp mod addCm modCm">
        <pc:chgData name="Irina Keis" userId="56f9a881-46b7-4ded-bd86-4ecf61719e5e" providerId="ADAL" clId="{3FC84C9B-92AB-4102-B8A4-8DF3AFA18152}" dt="2023-12-03T15:50:04.084" v="1955" actId="2056"/>
        <pc:sldMkLst>
          <pc:docMk/>
          <pc:sldMk cId="4222592916" sldId="265"/>
        </pc:sldMkLst>
        <pc:spChg chg="mod">
          <ac:chgData name="Irina Keis" userId="56f9a881-46b7-4ded-bd86-4ecf61719e5e" providerId="ADAL" clId="{3FC84C9B-92AB-4102-B8A4-8DF3AFA18152}" dt="2023-12-02T15:22:23.920" v="103" actId="20577"/>
          <ac:spMkLst>
            <pc:docMk/>
            <pc:sldMk cId="4222592916" sldId="265"/>
            <ac:spMk id="3" creationId="{75065607-11FF-27D8-42A1-AA3E7BE1BAF1}"/>
          </ac:spMkLst>
        </pc:spChg>
        <pc:spChg chg="mod">
          <ac:chgData name="Irina Keis" userId="56f9a881-46b7-4ded-bd86-4ecf61719e5e" providerId="ADAL" clId="{3FC84C9B-92AB-4102-B8A4-8DF3AFA18152}" dt="2023-12-02T15:22:35.606" v="106" actId="14100"/>
          <ac:spMkLst>
            <pc:docMk/>
            <pc:sldMk cId="4222592916" sldId="265"/>
            <ac:spMk id="14" creationId="{7084496D-5F9A-D4B2-3E99-347FA2B50A7A}"/>
          </ac:spMkLst>
        </pc:spChg>
        <pc:graphicFrameChg chg="mod modGraphic">
          <ac:chgData name="Irina Keis" userId="56f9a881-46b7-4ded-bd86-4ecf61719e5e" providerId="ADAL" clId="{3FC84C9B-92AB-4102-B8A4-8DF3AFA18152}" dt="2023-12-02T15:22:05.080" v="100" actId="14100"/>
          <ac:graphicFrameMkLst>
            <pc:docMk/>
            <pc:sldMk cId="4222592916" sldId="265"/>
            <ac:graphicFrameMk id="11" creationId="{EEFA177F-947E-B232-21E8-BC34E4DF3FC6}"/>
          </ac:graphicFrameMkLst>
        </pc:graphicFrameChg>
      </pc:sldChg>
      <pc:sldChg chg="modSp addCm modCm">
        <pc:chgData name="Irina Keis" userId="56f9a881-46b7-4ded-bd86-4ecf61719e5e" providerId="ADAL" clId="{3FC84C9B-92AB-4102-B8A4-8DF3AFA18152}" dt="2023-12-02T19:47:53.396" v="1948" actId="1076"/>
        <pc:sldMkLst>
          <pc:docMk/>
          <pc:sldMk cId="3520947470" sldId="267"/>
        </pc:sldMkLst>
        <pc:picChg chg="mod">
          <ac:chgData name="Irina Keis" userId="56f9a881-46b7-4ded-bd86-4ecf61719e5e" providerId="ADAL" clId="{3FC84C9B-92AB-4102-B8A4-8DF3AFA18152}" dt="2023-12-02T15:19:22.470" v="84" actId="27636"/>
          <ac:picMkLst>
            <pc:docMk/>
            <pc:sldMk cId="3520947470" sldId="267"/>
            <ac:picMk id="5122" creationId="{2AD06DB8-B70A-8B18-5CA1-5ECDB90BDF04}"/>
          </ac:picMkLst>
        </pc:picChg>
        <pc:picChg chg="mod">
          <ac:chgData name="Irina Keis" userId="56f9a881-46b7-4ded-bd86-4ecf61719e5e" providerId="ADAL" clId="{3FC84C9B-92AB-4102-B8A4-8DF3AFA18152}" dt="2023-12-02T19:47:53.396" v="1948" actId="1076"/>
          <ac:picMkLst>
            <pc:docMk/>
            <pc:sldMk cId="3520947470" sldId="267"/>
            <ac:picMk id="5126" creationId="{836170BE-9EC4-1492-69D2-7D5BD0EC5530}"/>
          </ac:picMkLst>
        </pc:picChg>
        <pc:picChg chg="mod">
          <ac:chgData name="Irina Keis" userId="56f9a881-46b7-4ded-bd86-4ecf61719e5e" providerId="ADAL" clId="{3FC84C9B-92AB-4102-B8A4-8DF3AFA18152}" dt="2023-12-02T19:47:51.681" v="1947" actId="1076"/>
          <ac:picMkLst>
            <pc:docMk/>
            <pc:sldMk cId="3520947470" sldId="267"/>
            <ac:picMk id="5132" creationId="{0047C250-324A-B893-975C-4D646576D760}"/>
          </ac:picMkLst>
        </pc:picChg>
      </pc:sldChg>
      <pc:sldChg chg="modSp mod addCm">
        <pc:chgData name="Irina Keis" userId="56f9a881-46b7-4ded-bd86-4ecf61719e5e" providerId="ADAL" clId="{3FC84C9B-92AB-4102-B8A4-8DF3AFA18152}" dt="2023-12-02T15:17:15.363" v="60"/>
        <pc:sldMkLst>
          <pc:docMk/>
          <pc:sldMk cId="2600468727" sldId="270"/>
        </pc:sldMkLst>
        <pc:graphicFrameChg chg="mod">
          <ac:chgData name="Irina Keis" userId="56f9a881-46b7-4ded-bd86-4ecf61719e5e" providerId="ADAL" clId="{3FC84C9B-92AB-4102-B8A4-8DF3AFA18152}" dt="2023-12-02T15:11:25.840" v="27" actId="27636"/>
          <ac:graphicFrameMkLst>
            <pc:docMk/>
            <pc:sldMk cId="2600468727" sldId="270"/>
            <ac:graphicFrameMk id="2" creationId="{05540156-63B3-F0B3-69B0-850741C21F54}"/>
          </ac:graphicFrameMkLst>
        </pc:graphicFrameChg>
      </pc:sldChg>
      <pc:sldChg chg="modSp mod addCm modCm">
        <pc:chgData name="Irina Keis" userId="56f9a881-46b7-4ded-bd86-4ecf61719e5e" providerId="ADAL" clId="{3FC84C9B-92AB-4102-B8A4-8DF3AFA18152}" dt="2023-12-02T19:43:02.152" v="1941"/>
        <pc:sldMkLst>
          <pc:docMk/>
          <pc:sldMk cId="3674208978" sldId="271"/>
        </pc:sldMkLst>
        <pc:spChg chg="mod">
          <ac:chgData name="Irina Keis" userId="56f9a881-46b7-4ded-bd86-4ecf61719e5e" providerId="ADAL" clId="{3FC84C9B-92AB-4102-B8A4-8DF3AFA18152}" dt="2023-12-02T15:27:42.134" v="130" actId="27636"/>
          <ac:spMkLst>
            <pc:docMk/>
            <pc:sldMk cId="3674208978" sldId="271"/>
            <ac:spMk id="10" creationId="{080201A8-8130-9940-0CF2-C0372A44A88D}"/>
          </ac:spMkLst>
        </pc:spChg>
      </pc:sldChg>
      <pc:sldChg chg="addCm">
        <pc:chgData name="Irina Keis" userId="56f9a881-46b7-4ded-bd86-4ecf61719e5e" providerId="ADAL" clId="{3FC84C9B-92AB-4102-B8A4-8DF3AFA18152}" dt="2023-12-02T15:17:29.811" v="64"/>
        <pc:sldMkLst>
          <pc:docMk/>
          <pc:sldMk cId="1003143522" sldId="398"/>
        </pc:sldMkLst>
      </pc:sldChg>
      <pc:sldChg chg="addCm">
        <pc:chgData name="Irina Keis" userId="56f9a881-46b7-4ded-bd86-4ecf61719e5e" providerId="ADAL" clId="{3FC84C9B-92AB-4102-B8A4-8DF3AFA18152}" dt="2023-12-02T15:19:45.710" v="87"/>
        <pc:sldMkLst>
          <pc:docMk/>
          <pc:sldMk cId="4081114775" sldId="399"/>
        </pc:sldMkLst>
      </pc:sldChg>
      <pc:sldChg chg="addCm">
        <pc:chgData name="Irina Keis" userId="56f9a881-46b7-4ded-bd86-4ecf61719e5e" providerId="ADAL" clId="{3FC84C9B-92AB-4102-B8A4-8DF3AFA18152}" dt="2023-12-02T15:24:47.928" v="109"/>
        <pc:sldMkLst>
          <pc:docMk/>
          <pc:sldMk cId="612588230" sldId="400"/>
        </pc:sldMkLst>
      </pc:sldChg>
      <pc:sldChg chg="modSp">
        <pc:chgData name="Irina Keis" userId="56f9a881-46b7-4ded-bd86-4ecf61719e5e" providerId="ADAL" clId="{3FC84C9B-92AB-4102-B8A4-8DF3AFA18152}" dt="2023-12-02T17:18:41.743" v="281" actId="1076"/>
        <pc:sldMkLst>
          <pc:docMk/>
          <pc:sldMk cId="780382281" sldId="401"/>
        </pc:sldMkLst>
        <pc:picChg chg="mod">
          <ac:chgData name="Irina Keis" userId="56f9a881-46b7-4ded-bd86-4ecf61719e5e" providerId="ADAL" clId="{3FC84C9B-92AB-4102-B8A4-8DF3AFA18152}" dt="2023-12-02T17:18:41.743" v="281" actId="1076"/>
          <ac:picMkLst>
            <pc:docMk/>
            <pc:sldMk cId="780382281" sldId="401"/>
            <ac:picMk id="19" creationId="{965F84CA-7EA8-7B3A-7A06-B3A34FCE8B4D}"/>
          </ac:picMkLst>
        </pc:picChg>
      </pc:sldChg>
      <pc:sldChg chg="addCm">
        <pc:chgData name="Irina Keis" userId="56f9a881-46b7-4ded-bd86-4ecf61719e5e" providerId="ADAL" clId="{3FC84C9B-92AB-4102-B8A4-8DF3AFA18152}" dt="2023-12-02T19:43:51.566" v="1942"/>
        <pc:sldMkLst>
          <pc:docMk/>
          <pc:sldMk cId="436138604" sldId="403"/>
        </pc:sldMkLst>
      </pc:sldChg>
      <pc:sldChg chg="addCm">
        <pc:chgData name="Irina Keis" userId="56f9a881-46b7-4ded-bd86-4ecf61719e5e" providerId="ADAL" clId="{3FC84C9B-92AB-4102-B8A4-8DF3AFA18152}" dt="2023-12-02T19:46:01.456" v="1943"/>
        <pc:sldMkLst>
          <pc:docMk/>
          <pc:sldMk cId="4179436917" sldId="404"/>
        </pc:sldMkLst>
      </pc:sldChg>
      <pc:sldChg chg="modSp addCm">
        <pc:chgData name="Irina Keis" userId="56f9a881-46b7-4ded-bd86-4ecf61719e5e" providerId="ADAL" clId="{3FC84C9B-92AB-4102-B8A4-8DF3AFA18152}" dt="2023-12-02T19:58:48.780" v="1953"/>
        <pc:sldMkLst>
          <pc:docMk/>
          <pc:sldMk cId="3379930669" sldId="408"/>
        </pc:sldMkLst>
        <pc:graphicFrameChg chg="mod">
          <ac:chgData name="Irina Keis" userId="56f9a881-46b7-4ded-bd86-4ecf61719e5e" providerId="ADAL" clId="{3FC84C9B-92AB-4102-B8A4-8DF3AFA18152}" dt="2023-12-02T15:27:00.863" v="124" actId="27636"/>
          <ac:graphicFrameMkLst>
            <pc:docMk/>
            <pc:sldMk cId="3379930669" sldId="408"/>
            <ac:graphicFrameMk id="5" creationId="{AD0E971A-8557-4A32-A366-1CA56DBC0090}"/>
          </ac:graphicFrameMkLst>
        </pc:graphicFrameChg>
      </pc:sldChg>
      <pc:sldChg chg="addCm">
        <pc:chgData name="Irina Keis" userId="56f9a881-46b7-4ded-bd86-4ecf61719e5e" providerId="ADAL" clId="{3FC84C9B-92AB-4102-B8A4-8DF3AFA18152}" dt="2023-12-02T15:27:05.394" v="126"/>
        <pc:sldMkLst>
          <pc:docMk/>
          <pc:sldMk cId="1558287448" sldId="409"/>
        </pc:sldMkLst>
      </pc:sldChg>
      <pc:sldChg chg="modSp addCm">
        <pc:chgData name="Irina Keis" userId="56f9a881-46b7-4ded-bd86-4ecf61719e5e" providerId="ADAL" clId="{3FC84C9B-92AB-4102-B8A4-8DF3AFA18152}" dt="2023-12-02T20:22:56.465" v="1954"/>
        <pc:sldMkLst>
          <pc:docMk/>
          <pc:sldMk cId="2783384388" sldId="411"/>
        </pc:sldMkLst>
        <pc:picChg chg="mod">
          <ac:chgData name="Irina Keis" userId="56f9a881-46b7-4ded-bd86-4ecf61719e5e" providerId="ADAL" clId="{3FC84C9B-92AB-4102-B8A4-8DF3AFA18152}" dt="2023-12-02T15:27:37.939" v="129" actId="14100"/>
          <ac:picMkLst>
            <pc:docMk/>
            <pc:sldMk cId="2783384388" sldId="411"/>
            <ac:picMk id="7" creationId="{B6B8CE41-C79E-9E83-F7A6-75FA963D93DD}"/>
          </ac:picMkLst>
        </pc:picChg>
      </pc:sldChg>
      <pc:sldChg chg="modSp mod addCm modCm">
        <pc:chgData name="Irina Keis" userId="56f9a881-46b7-4ded-bd86-4ecf61719e5e" providerId="ADAL" clId="{3FC84C9B-92AB-4102-B8A4-8DF3AFA18152}" dt="2023-12-02T19:50:51.534" v="1951"/>
        <pc:sldMkLst>
          <pc:docMk/>
          <pc:sldMk cId="3533080913" sldId="412"/>
        </pc:sldMkLst>
        <pc:spChg chg="mod">
          <ac:chgData name="Irina Keis" userId="56f9a881-46b7-4ded-bd86-4ecf61719e5e" providerId="ADAL" clId="{3FC84C9B-92AB-4102-B8A4-8DF3AFA18152}" dt="2023-12-02T19:48:34.635" v="1950" actId="20577"/>
          <ac:spMkLst>
            <pc:docMk/>
            <pc:sldMk cId="3533080913" sldId="412"/>
            <ac:spMk id="6" creationId="{79CA3511-C50B-4811-D22F-721555BD92E6}"/>
          </ac:spMkLst>
        </pc:spChg>
      </pc:sldChg>
      <pc:sldChg chg="addCm modCm">
        <pc:chgData name="Irina Keis" userId="56f9a881-46b7-4ded-bd86-4ecf61719e5e" providerId="ADAL" clId="{3FC84C9B-92AB-4102-B8A4-8DF3AFA18152}" dt="2023-12-03T16:26:51.497" v="1956" actId="2056"/>
        <pc:sldMkLst>
          <pc:docMk/>
          <pc:sldMk cId="634489375" sldId="413"/>
        </pc:sldMkLst>
      </pc:sldChg>
      <pc:sldChg chg="addSp delSp modSp new mod">
        <pc:chgData name="Irina Keis" userId="56f9a881-46b7-4ded-bd86-4ecf61719e5e" providerId="ADAL" clId="{3FC84C9B-92AB-4102-B8A4-8DF3AFA18152}" dt="2023-12-02T19:20:23.667" v="1940" actId="1076"/>
        <pc:sldMkLst>
          <pc:docMk/>
          <pc:sldMk cId="1684807928" sldId="415"/>
        </pc:sldMkLst>
        <pc:spChg chg="mod">
          <ac:chgData name="Irina Keis" userId="56f9a881-46b7-4ded-bd86-4ecf61719e5e" providerId="ADAL" clId="{3FC84C9B-92AB-4102-B8A4-8DF3AFA18152}" dt="2023-12-02T17:11:26.944" v="222" actId="1076"/>
          <ac:spMkLst>
            <pc:docMk/>
            <pc:sldMk cId="1684807928" sldId="415"/>
            <ac:spMk id="2" creationId="{C79B6AB1-4ED8-4427-9AEF-B18036C7FD50}"/>
          </ac:spMkLst>
        </pc:spChg>
        <pc:spChg chg="add mod">
          <ac:chgData name="Irina Keis" userId="56f9a881-46b7-4ded-bd86-4ecf61719e5e" providerId="ADAL" clId="{3FC84C9B-92AB-4102-B8A4-8DF3AFA18152}" dt="2023-12-02T19:00:24.326" v="1601" actId="1076"/>
          <ac:spMkLst>
            <pc:docMk/>
            <pc:sldMk cId="1684807928" sldId="415"/>
            <ac:spMk id="5" creationId="{2B971A1F-B52F-ABDB-78E6-132EACA049B0}"/>
          </ac:spMkLst>
        </pc:spChg>
        <pc:spChg chg="add mod">
          <ac:chgData name="Irina Keis" userId="56f9a881-46b7-4ded-bd86-4ecf61719e5e" providerId="ADAL" clId="{3FC84C9B-92AB-4102-B8A4-8DF3AFA18152}" dt="2023-12-02T19:00:24.326" v="1601" actId="1076"/>
          <ac:spMkLst>
            <pc:docMk/>
            <pc:sldMk cId="1684807928" sldId="415"/>
            <ac:spMk id="6" creationId="{66477D91-D856-F57C-7FAB-958E695D608B}"/>
          </ac:spMkLst>
        </pc:spChg>
        <pc:spChg chg="add mod">
          <ac:chgData name="Irina Keis" userId="56f9a881-46b7-4ded-bd86-4ecf61719e5e" providerId="ADAL" clId="{3FC84C9B-92AB-4102-B8A4-8DF3AFA18152}" dt="2023-12-02T19:00:24.326" v="1601" actId="1076"/>
          <ac:spMkLst>
            <pc:docMk/>
            <pc:sldMk cId="1684807928" sldId="415"/>
            <ac:spMk id="7" creationId="{550061B8-1E2A-8DF5-2DD8-3938D0031467}"/>
          </ac:spMkLst>
        </pc:spChg>
        <pc:spChg chg="add mod">
          <ac:chgData name="Irina Keis" userId="56f9a881-46b7-4ded-bd86-4ecf61719e5e" providerId="ADAL" clId="{3FC84C9B-92AB-4102-B8A4-8DF3AFA18152}" dt="2023-12-02T19:00:24.326" v="1601" actId="1076"/>
          <ac:spMkLst>
            <pc:docMk/>
            <pc:sldMk cId="1684807928" sldId="415"/>
            <ac:spMk id="8" creationId="{F0854FAE-E912-D620-D843-175657BFCD46}"/>
          </ac:spMkLst>
        </pc:spChg>
        <pc:spChg chg="add mod">
          <ac:chgData name="Irina Keis" userId="56f9a881-46b7-4ded-bd86-4ecf61719e5e" providerId="ADAL" clId="{3FC84C9B-92AB-4102-B8A4-8DF3AFA18152}" dt="2023-12-02T19:00:24.326" v="1601" actId="1076"/>
          <ac:spMkLst>
            <pc:docMk/>
            <pc:sldMk cId="1684807928" sldId="415"/>
            <ac:spMk id="9" creationId="{EE19E01F-9FAD-659A-D6C3-BBE4C95FE1B6}"/>
          </ac:spMkLst>
        </pc:spChg>
        <pc:spChg chg="add mod">
          <ac:chgData name="Irina Keis" userId="56f9a881-46b7-4ded-bd86-4ecf61719e5e" providerId="ADAL" clId="{3FC84C9B-92AB-4102-B8A4-8DF3AFA18152}" dt="2023-12-02T19:00:24.326" v="1601" actId="1076"/>
          <ac:spMkLst>
            <pc:docMk/>
            <pc:sldMk cId="1684807928" sldId="415"/>
            <ac:spMk id="10" creationId="{4CFDC719-6F5E-4552-CBAB-D252DD302791}"/>
          </ac:spMkLst>
        </pc:spChg>
        <pc:spChg chg="add del mod">
          <ac:chgData name="Irina Keis" userId="56f9a881-46b7-4ded-bd86-4ecf61719e5e" providerId="ADAL" clId="{3FC84C9B-92AB-4102-B8A4-8DF3AFA18152}" dt="2023-12-02T17:19:28.534" v="290" actId="478"/>
          <ac:spMkLst>
            <pc:docMk/>
            <pc:sldMk cId="1684807928" sldId="415"/>
            <ac:spMk id="12" creationId="{458963B0-67D2-51C5-113D-6CD09D377C5C}"/>
          </ac:spMkLst>
        </pc:spChg>
        <pc:spChg chg="add del mod">
          <ac:chgData name="Irina Keis" userId="56f9a881-46b7-4ded-bd86-4ecf61719e5e" providerId="ADAL" clId="{3FC84C9B-92AB-4102-B8A4-8DF3AFA18152}" dt="2023-12-02T17:18:21.061" v="279" actId="478"/>
          <ac:spMkLst>
            <pc:docMk/>
            <pc:sldMk cId="1684807928" sldId="415"/>
            <ac:spMk id="14" creationId="{3A774DF6-B6A5-9F1F-37EF-FE2A144F385B}"/>
          </ac:spMkLst>
        </pc:spChg>
        <pc:spChg chg="add mod">
          <ac:chgData name="Irina Keis" userId="56f9a881-46b7-4ded-bd86-4ecf61719e5e" providerId="ADAL" clId="{3FC84C9B-92AB-4102-B8A4-8DF3AFA18152}" dt="2023-12-02T19:00:24.326" v="1601" actId="1076"/>
          <ac:spMkLst>
            <pc:docMk/>
            <pc:sldMk cId="1684807928" sldId="415"/>
            <ac:spMk id="15" creationId="{37DD23DB-E582-9935-4D2A-BE5E5A73D3A7}"/>
          </ac:spMkLst>
        </pc:spChg>
        <pc:spChg chg="add mod">
          <ac:chgData name="Irina Keis" userId="56f9a881-46b7-4ded-bd86-4ecf61719e5e" providerId="ADAL" clId="{3FC84C9B-92AB-4102-B8A4-8DF3AFA18152}" dt="2023-12-02T19:00:24.326" v="1601" actId="1076"/>
          <ac:spMkLst>
            <pc:docMk/>
            <pc:sldMk cId="1684807928" sldId="415"/>
            <ac:spMk id="16" creationId="{E7F8B8CD-848C-4A34-8145-BF500D456483}"/>
          </ac:spMkLst>
        </pc:spChg>
        <pc:spChg chg="add del mod">
          <ac:chgData name="Irina Keis" userId="56f9a881-46b7-4ded-bd86-4ecf61719e5e" providerId="ADAL" clId="{3FC84C9B-92AB-4102-B8A4-8DF3AFA18152}" dt="2023-12-02T17:19:14.953" v="284" actId="478"/>
          <ac:spMkLst>
            <pc:docMk/>
            <pc:sldMk cId="1684807928" sldId="415"/>
            <ac:spMk id="17" creationId="{07E54C3C-C539-B2A5-05A5-D73451484DE8}"/>
          </ac:spMkLst>
        </pc:spChg>
        <pc:spChg chg="add mod">
          <ac:chgData name="Irina Keis" userId="56f9a881-46b7-4ded-bd86-4ecf61719e5e" providerId="ADAL" clId="{3FC84C9B-92AB-4102-B8A4-8DF3AFA18152}" dt="2023-12-02T19:00:24.326" v="1601" actId="1076"/>
          <ac:spMkLst>
            <pc:docMk/>
            <pc:sldMk cId="1684807928" sldId="415"/>
            <ac:spMk id="19" creationId="{DBDB1E66-EEC0-FB58-3D82-16E637645ACB}"/>
          </ac:spMkLst>
        </pc:spChg>
        <pc:spChg chg="add del mod">
          <ac:chgData name="Irina Keis" userId="56f9a881-46b7-4ded-bd86-4ecf61719e5e" providerId="ADAL" clId="{3FC84C9B-92AB-4102-B8A4-8DF3AFA18152}" dt="2023-12-02T17:21:37.165" v="330"/>
          <ac:spMkLst>
            <pc:docMk/>
            <pc:sldMk cId="1684807928" sldId="415"/>
            <ac:spMk id="20" creationId="{7C5719C2-AB81-2DF8-6945-FA9959B58738}"/>
          </ac:spMkLst>
        </pc:spChg>
        <pc:spChg chg="add del mod">
          <ac:chgData name="Irina Keis" userId="56f9a881-46b7-4ded-bd86-4ecf61719e5e" providerId="ADAL" clId="{3FC84C9B-92AB-4102-B8A4-8DF3AFA18152}" dt="2023-12-02T18:27:49.675" v="1096" actId="478"/>
          <ac:spMkLst>
            <pc:docMk/>
            <pc:sldMk cId="1684807928" sldId="415"/>
            <ac:spMk id="21" creationId="{0D86F177-CBA3-712E-1194-21F66A9FDD62}"/>
          </ac:spMkLst>
        </pc:spChg>
        <pc:spChg chg="add mod">
          <ac:chgData name="Irina Keis" userId="56f9a881-46b7-4ded-bd86-4ecf61719e5e" providerId="ADAL" clId="{3FC84C9B-92AB-4102-B8A4-8DF3AFA18152}" dt="2023-12-02T19:20:00.562" v="1935" actId="1076"/>
          <ac:spMkLst>
            <pc:docMk/>
            <pc:sldMk cId="1684807928" sldId="415"/>
            <ac:spMk id="25" creationId="{8FE31523-60CA-5393-87DD-9E29D917383A}"/>
          </ac:spMkLst>
        </pc:spChg>
        <pc:spChg chg="add mod">
          <ac:chgData name="Irina Keis" userId="56f9a881-46b7-4ded-bd86-4ecf61719e5e" providerId="ADAL" clId="{3FC84C9B-92AB-4102-B8A4-8DF3AFA18152}" dt="2023-12-02T19:20:00.562" v="1935" actId="1076"/>
          <ac:spMkLst>
            <pc:docMk/>
            <pc:sldMk cId="1684807928" sldId="415"/>
            <ac:spMk id="30" creationId="{97677E8D-6C7D-8A7D-7B59-A30D09B3CB8C}"/>
          </ac:spMkLst>
        </pc:spChg>
        <pc:spChg chg="add mod">
          <ac:chgData name="Irina Keis" userId="56f9a881-46b7-4ded-bd86-4ecf61719e5e" providerId="ADAL" clId="{3FC84C9B-92AB-4102-B8A4-8DF3AFA18152}" dt="2023-12-02T19:20:00.562" v="1935" actId="1076"/>
          <ac:spMkLst>
            <pc:docMk/>
            <pc:sldMk cId="1684807928" sldId="415"/>
            <ac:spMk id="31" creationId="{B44A1068-5E48-C939-07B3-CF9BE46802E5}"/>
          </ac:spMkLst>
        </pc:spChg>
        <pc:spChg chg="add mod">
          <ac:chgData name="Irina Keis" userId="56f9a881-46b7-4ded-bd86-4ecf61719e5e" providerId="ADAL" clId="{3FC84C9B-92AB-4102-B8A4-8DF3AFA18152}" dt="2023-12-02T19:20:00.562" v="1935" actId="1076"/>
          <ac:spMkLst>
            <pc:docMk/>
            <pc:sldMk cId="1684807928" sldId="415"/>
            <ac:spMk id="32" creationId="{BB256EA3-5410-6BFA-1FF1-592BE4502DC4}"/>
          </ac:spMkLst>
        </pc:spChg>
        <pc:spChg chg="add mod">
          <ac:chgData name="Irina Keis" userId="56f9a881-46b7-4ded-bd86-4ecf61719e5e" providerId="ADAL" clId="{3FC84C9B-92AB-4102-B8A4-8DF3AFA18152}" dt="2023-12-02T19:20:00.562" v="1935" actId="1076"/>
          <ac:spMkLst>
            <pc:docMk/>
            <pc:sldMk cId="1684807928" sldId="415"/>
            <ac:spMk id="33" creationId="{6511C88E-C75D-9AE5-724F-815DF64278E0}"/>
          </ac:spMkLst>
        </pc:spChg>
        <pc:spChg chg="add mod">
          <ac:chgData name="Irina Keis" userId="56f9a881-46b7-4ded-bd86-4ecf61719e5e" providerId="ADAL" clId="{3FC84C9B-92AB-4102-B8A4-8DF3AFA18152}" dt="2023-12-02T17:37:07.001" v="525" actId="571"/>
          <ac:spMkLst>
            <pc:docMk/>
            <pc:sldMk cId="1684807928" sldId="415"/>
            <ac:spMk id="34" creationId="{EBA189D5-CFA7-07E3-F84E-203947940455}"/>
          </ac:spMkLst>
        </pc:spChg>
        <pc:spChg chg="add mod">
          <ac:chgData name="Irina Keis" userId="56f9a881-46b7-4ded-bd86-4ecf61719e5e" providerId="ADAL" clId="{3FC84C9B-92AB-4102-B8A4-8DF3AFA18152}" dt="2023-12-02T19:20:00.562" v="1935" actId="1076"/>
          <ac:spMkLst>
            <pc:docMk/>
            <pc:sldMk cId="1684807928" sldId="415"/>
            <ac:spMk id="35" creationId="{41990D9A-94C8-4F4B-DEE4-972E29DD86AD}"/>
          </ac:spMkLst>
        </pc:spChg>
        <pc:spChg chg="add mod">
          <ac:chgData name="Irina Keis" userId="56f9a881-46b7-4ded-bd86-4ecf61719e5e" providerId="ADAL" clId="{3FC84C9B-92AB-4102-B8A4-8DF3AFA18152}" dt="2023-12-02T19:20:00.562" v="1935" actId="1076"/>
          <ac:spMkLst>
            <pc:docMk/>
            <pc:sldMk cId="1684807928" sldId="415"/>
            <ac:spMk id="36" creationId="{E4CD64BB-782F-6159-BCA7-075A180522A6}"/>
          </ac:spMkLst>
        </pc:spChg>
        <pc:spChg chg="add mod">
          <ac:chgData name="Irina Keis" userId="56f9a881-46b7-4ded-bd86-4ecf61719e5e" providerId="ADAL" clId="{3FC84C9B-92AB-4102-B8A4-8DF3AFA18152}" dt="2023-12-02T19:20:00.562" v="1935" actId="1076"/>
          <ac:spMkLst>
            <pc:docMk/>
            <pc:sldMk cId="1684807928" sldId="415"/>
            <ac:spMk id="37" creationId="{D6DC376B-586E-766B-EC97-20CD5ABE95A1}"/>
          </ac:spMkLst>
        </pc:spChg>
        <pc:spChg chg="add mod">
          <ac:chgData name="Irina Keis" userId="56f9a881-46b7-4ded-bd86-4ecf61719e5e" providerId="ADAL" clId="{3FC84C9B-92AB-4102-B8A4-8DF3AFA18152}" dt="2023-12-02T19:20:00.562" v="1935" actId="1076"/>
          <ac:spMkLst>
            <pc:docMk/>
            <pc:sldMk cId="1684807928" sldId="415"/>
            <ac:spMk id="38" creationId="{F78DF340-CB3F-7176-48E4-82CAFCBAAE59}"/>
          </ac:spMkLst>
        </pc:spChg>
        <pc:spChg chg="add del mod">
          <ac:chgData name="Irina Keis" userId="56f9a881-46b7-4ded-bd86-4ecf61719e5e" providerId="ADAL" clId="{3FC84C9B-92AB-4102-B8A4-8DF3AFA18152}" dt="2023-12-02T17:49:33.443" v="773" actId="478"/>
          <ac:spMkLst>
            <pc:docMk/>
            <pc:sldMk cId="1684807928" sldId="415"/>
            <ac:spMk id="40" creationId="{DE8F2EA3-9B8F-195E-57BE-C3A8B91E56CC}"/>
          </ac:spMkLst>
        </pc:spChg>
        <pc:spChg chg="add mod">
          <ac:chgData name="Irina Keis" userId="56f9a881-46b7-4ded-bd86-4ecf61719e5e" providerId="ADAL" clId="{3FC84C9B-92AB-4102-B8A4-8DF3AFA18152}" dt="2023-12-02T17:48:50.861" v="695" actId="571"/>
          <ac:spMkLst>
            <pc:docMk/>
            <pc:sldMk cId="1684807928" sldId="415"/>
            <ac:spMk id="41" creationId="{BE71FBC6-919E-F4E8-ADDD-29B2174C5AB2}"/>
          </ac:spMkLst>
        </pc:spChg>
        <pc:spChg chg="add mod">
          <ac:chgData name="Irina Keis" userId="56f9a881-46b7-4ded-bd86-4ecf61719e5e" providerId="ADAL" clId="{3FC84C9B-92AB-4102-B8A4-8DF3AFA18152}" dt="2023-12-02T19:19:21.611" v="1927" actId="1076"/>
          <ac:spMkLst>
            <pc:docMk/>
            <pc:sldMk cId="1684807928" sldId="415"/>
            <ac:spMk id="42" creationId="{8F6D156E-B211-5564-536D-BE5FE319C812}"/>
          </ac:spMkLst>
        </pc:spChg>
        <pc:spChg chg="add del mod">
          <ac:chgData name="Irina Keis" userId="56f9a881-46b7-4ded-bd86-4ecf61719e5e" providerId="ADAL" clId="{3FC84C9B-92AB-4102-B8A4-8DF3AFA18152}" dt="2023-12-02T19:19:21.611" v="1927" actId="1076"/>
          <ac:spMkLst>
            <pc:docMk/>
            <pc:sldMk cId="1684807928" sldId="415"/>
            <ac:spMk id="43" creationId="{C16003E6-DC6C-D339-45D1-0C7CA76CAE1E}"/>
          </ac:spMkLst>
        </pc:spChg>
        <pc:spChg chg="add del mod">
          <ac:chgData name="Irina Keis" userId="56f9a881-46b7-4ded-bd86-4ecf61719e5e" providerId="ADAL" clId="{3FC84C9B-92AB-4102-B8A4-8DF3AFA18152}" dt="2023-12-02T17:57:17.482" v="900"/>
          <ac:spMkLst>
            <pc:docMk/>
            <pc:sldMk cId="1684807928" sldId="415"/>
            <ac:spMk id="45" creationId="{E55F9321-425C-B0D5-813B-28CE1B717B9F}"/>
          </ac:spMkLst>
        </pc:spChg>
        <pc:spChg chg="add del mod">
          <ac:chgData name="Irina Keis" userId="56f9a881-46b7-4ded-bd86-4ecf61719e5e" providerId="ADAL" clId="{3FC84C9B-92AB-4102-B8A4-8DF3AFA18152}" dt="2023-12-02T17:57:17.485" v="902"/>
          <ac:spMkLst>
            <pc:docMk/>
            <pc:sldMk cId="1684807928" sldId="415"/>
            <ac:spMk id="46" creationId="{B661B5E8-8E70-535F-97F3-7CE19FF844A3}"/>
          </ac:spMkLst>
        </pc:spChg>
        <pc:spChg chg="add del mod">
          <ac:chgData name="Irina Keis" userId="56f9a881-46b7-4ded-bd86-4ecf61719e5e" providerId="ADAL" clId="{3FC84C9B-92AB-4102-B8A4-8DF3AFA18152}" dt="2023-12-02T18:47:17.965" v="1459" actId="478"/>
          <ac:spMkLst>
            <pc:docMk/>
            <pc:sldMk cId="1684807928" sldId="415"/>
            <ac:spMk id="48" creationId="{5CB3A224-3A19-CFF5-BAFC-FE4D4E9FE9AA}"/>
          </ac:spMkLst>
        </pc:spChg>
        <pc:spChg chg="add mod">
          <ac:chgData name="Irina Keis" userId="56f9a881-46b7-4ded-bd86-4ecf61719e5e" providerId="ADAL" clId="{3FC84C9B-92AB-4102-B8A4-8DF3AFA18152}" dt="2023-12-02T19:19:21.611" v="1927" actId="1076"/>
          <ac:spMkLst>
            <pc:docMk/>
            <pc:sldMk cId="1684807928" sldId="415"/>
            <ac:spMk id="50" creationId="{1D85E6FF-9401-A998-7526-F905BF40D89A}"/>
          </ac:spMkLst>
        </pc:spChg>
        <pc:spChg chg="add del mod">
          <ac:chgData name="Irina Keis" userId="56f9a881-46b7-4ded-bd86-4ecf61719e5e" providerId="ADAL" clId="{3FC84C9B-92AB-4102-B8A4-8DF3AFA18152}" dt="2023-12-02T18:48:45.686" v="1500" actId="478"/>
          <ac:spMkLst>
            <pc:docMk/>
            <pc:sldMk cId="1684807928" sldId="415"/>
            <ac:spMk id="52" creationId="{3A8D81B3-AD52-55EE-930E-D4B8E827ADCB}"/>
          </ac:spMkLst>
        </pc:spChg>
        <pc:spChg chg="add del mod">
          <ac:chgData name="Irina Keis" userId="56f9a881-46b7-4ded-bd86-4ecf61719e5e" providerId="ADAL" clId="{3FC84C9B-92AB-4102-B8A4-8DF3AFA18152}" dt="2023-12-02T18:47:46.944" v="1462" actId="478"/>
          <ac:spMkLst>
            <pc:docMk/>
            <pc:sldMk cId="1684807928" sldId="415"/>
            <ac:spMk id="54" creationId="{CD0BDC64-0467-F3E4-F1DD-06A75C1EF586}"/>
          </ac:spMkLst>
        </pc:spChg>
        <pc:spChg chg="add mod">
          <ac:chgData name="Irina Keis" userId="56f9a881-46b7-4ded-bd86-4ecf61719e5e" providerId="ADAL" clId="{3FC84C9B-92AB-4102-B8A4-8DF3AFA18152}" dt="2023-12-02T19:19:25.201" v="1930" actId="20577"/>
          <ac:spMkLst>
            <pc:docMk/>
            <pc:sldMk cId="1684807928" sldId="415"/>
            <ac:spMk id="56" creationId="{99BF2421-5294-6968-4986-5ADB4884DC99}"/>
          </ac:spMkLst>
        </pc:spChg>
        <pc:spChg chg="add del mod">
          <ac:chgData name="Irina Keis" userId="56f9a881-46b7-4ded-bd86-4ecf61719e5e" providerId="ADAL" clId="{3FC84C9B-92AB-4102-B8A4-8DF3AFA18152}" dt="2023-12-02T18:49:04.613" v="1505" actId="478"/>
          <ac:spMkLst>
            <pc:docMk/>
            <pc:sldMk cId="1684807928" sldId="415"/>
            <ac:spMk id="58" creationId="{CF5819B8-893C-FCEC-5C0E-D0A91B15B059}"/>
          </ac:spMkLst>
        </pc:spChg>
        <pc:spChg chg="add del mod">
          <ac:chgData name="Irina Keis" userId="56f9a881-46b7-4ded-bd86-4ecf61719e5e" providerId="ADAL" clId="{3FC84C9B-92AB-4102-B8A4-8DF3AFA18152}" dt="2023-12-02T18:48:23.024" v="1495" actId="478"/>
          <ac:spMkLst>
            <pc:docMk/>
            <pc:sldMk cId="1684807928" sldId="415"/>
            <ac:spMk id="60" creationId="{7B1803F5-A054-A801-7BCA-CD734A675A1D}"/>
          </ac:spMkLst>
        </pc:spChg>
        <pc:spChg chg="add del mod">
          <ac:chgData name="Irina Keis" userId="56f9a881-46b7-4ded-bd86-4ecf61719e5e" providerId="ADAL" clId="{3FC84C9B-92AB-4102-B8A4-8DF3AFA18152}" dt="2023-12-02T18:20:44.328" v="1049" actId="478"/>
          <ac:spMkLst>
            <pc:docMk/>
            <pc:sldMk cId="1684807928" sldId="415"/>
            <ac:spMk id="63" creationId="{7A65CB8B-FA80-9C1E-C951-73CEAC1602A5}"/>
          </ac:spMkLst>
        </pc:spChg>
        <pc:spChg chg="add del mod">
          <ac:chgData name="Irina Keis" userId="56f9a881-46b7-4ded-bd86-4ecf61719e5e" providerId="ADAL" clId="{3FC84C9B-92AB-4102-B8A4-8DF3AFA18152}" dt="2023-12-02T18:22:01.136" v="1053"/>
          <ac:spMkLst>
            <pc:docMk/>
            <pc:sldMk cId="1684807928" sldId="415"/>
            <ac:spMk id="64" creationId="{B2CFFB8F-9DAA-7608-2AFD-0852F3CEC448}"/>
          </ac:spMkLst>
        </pc:spChg>
        <pc:spChg chg="add del mod">
          <ac:chgData name="Irina Keis" userId="56f9a881-46b7-4ded-bd86-4ecf61719e5e" providerId="ADAL" clId="{3FC84C9B-92AB-4102-B8A4-8DF3AFA18152}" dt="2023-12-02T18:32:58.779" v="1178" actId="478"/>
          <ac:spMkLst>
            <pc:docMk/>
            <pc:sldMk cId="1684807928" sldId="415"/>
            <ac:spMk id="65" creationId="{3C98736E-6577-E2E2-CE37-B908D75C5FE7}"/>
          </ac:spMkLst>
        </pc:spChg>
        <pc:spChg chg="add mod">
          <ac:chgData name="Irina Keis" userId="56f9a881-46b7-4ded-bd86-4ecf61719e5e" providerId="ADAL" clId="{3FC84C9B-92AB-4102-B8A4-8DF3AFA18152}" dt="2023-12-02T19:19:40.255" v="1932" actId="1076"/>
          <ac:spMkLst>
            <pc:docMk/>
            <pc:sldMk cId="1684807928" sldId="415"/>
            <ac:spMk id="66" creationId="{D04EADCF-31D3-F938-8CE2-BDE58081D05F}"/>
          </ac:spMkLst>
        </pc:spChg>
        <pc:spChg chg="add del mod">
          <ac:chgData name="Irina Keis" userId="56f9a881-46b7-4ded-bd86-4ecf61719e5e" providerId="ADAL" clId="{3FC84C9B-92AB-4102-B8A4-8DF3AFA18152}" dt="2023-12-02T18:43:31.312" v="1431" actId="478"/>
          <ac:spMkLst>
            <pc:docMk/>
            <pc:sldMk cId="1684807928" sldId="415"/>
            <ac:spMk id="67" creationId="{FFA37A43-C1E1-C3DE-7AD1-C98C9B210902}"/>
          </ac:spMkLst>
        </pc:spChg>
        <pc:spChg chg="add mod">
          <ac:chgData name="Irina Keis" userId="56f9a881-46b7-4ded-bd86-4ecf61719e5e" providerId="ADAL" clId="{3FC84C9B-92AB-4102-B8A4-8DF3AFA18152}" dt="2023-12-02T18:59:07.481" v="1596" actId="571"/>
          <ac:spMkLst>
            <pc:docMk/>
            <pc:sldMk cId="1684807928" sldId="415"/>
            <ac:spMk id="75" creationId="{7939EC9F-0C03-1C52-46F7-6108DB76000F}"/>
          </ac:spMkLst>
        </pc:spChg>
        <pc:spChg chg="add mod">
          <ac:chgData name="Irina Keis" userId="56f9a881-46b7-4ded-bd86-4ecf61719e5e" providerId="ADAL" clId="{3FC84C9B-92AB-4102-B8A4-8DF3AFA18152}" dt="2023-12-02T18:59:07.481" v="1596" actId="571"/>
          <ac:spMkLst>
            <pc:docMk/>
            <pc:sldMk cId="1684807928" sldId="415"/>
            <ac:spMk id="76" creationId="{FBF11FE3-635A-6D61-0592-B31CC7E4237B}"/>
          </ac:spMkLst>
        </pc:spChg>
        <pc:spChg chg="add mod">
          <ac:chgData name="Irina Keis" userId="56f9a881-46b7-4ded-bd86-4ecf61719e5e" providerId="ADAL" clId="{3FC84C9B-92AB-4102-B8A4-8DF3AFA18152}" dt="2023-12-02T18:59:11.695" v="1600" actId="571"/>
          <ac:spMkLst>
            <pc:docMk/>
            <pc:sldMk cId="1684807928" sldId="415"/>
            <ac:spMk id="77" creationId="{18BEB3D1-1E2B-4AE7-F988-1F1FFF0653A1}"/>
          </ac:spMkLst>
        </pc:spChg>
        <pc:spChg chg="add mod">
          <ac:chgData name="Irina Keis" userId="56f9a881-46b7-4ded-bd86-4ecf61719e5e" providerId="ADAL" clId="{3FC84C9B-92AB-4102-B8A4-8DF3AFA18152}" dt="2023-12-02T18:59:11.695" v="1600" actId="571"/>
          <ac:spMkLst>
            <pc:docMk/>
            <pc:sldMk cId="1684807928" sldId="415"/>
            <ac:spMk id="78" creationId="{A2815DC4-33EE-2D82-F3FA-33C25F624737}"/>
          </ac:spMkLst>
        </pc:spChg>
        <pc:spChg chg="add mod">
          <ac:chgData name="Irina Keis" userId="56f9a881-46b7-4ded-bd86-4ecf61719e5e" providerId="ADAL" clId="{3FC84C9B-92AB-4102-B8A4-8DF3AFA18152}" dt="2023-12-02T18:59:11.695" v="1600" actId="571"/>
          <ac:spMkLst>
            <pc:docMk/>
            <pc:sldMk cId="1684807928" sldId="415"/>
            <ac:spMk id="79" creationId="{AFBDE397-DC89-3721-987B-7AB990405CD2}"/>
          </ac:spMkLst>
        </pc:spChg>
        <pc:spChg chg="add del mod">
          <ac:chgData name="Irina Keis" userId="56f9a881-46b7-4ded-bd86-4ecf61719e5e" providerId="ADAL" clId="{3FC84C9B-92AB-4102-B8A4-8DF3AFA18152}" dt="2023-12-02T19:02:20.787" v="1616"/>
          <ac:spMkLst>
            <pc:docMk/>
            <pc:sldMk cId="1684807928" sldId="415"/>
            <ac:spMk id="80" creationId="{D7271AA4-EFA1-6986-C59E-65CC57A2BEE9}"/>
          </ac:spMkLst>
        </pc:spChg>
        <pc:spChg chg="add del mod">
          <ac:chgData name="Irina Keis" userId="56f9a881-46b7-4ded-bd86-4ecf61719e5e" providerId="ADAL" clId="{3FC84C9B-92AB-4102-B8A4-8DF3AFA18152}" dt="2023-12-02T19:02:20.788" v="1618"/>
          <ac:spMkLst>
            <pc:docMk/>
            <pc:sldMk cId="1684807928" sldId="415"/>
            <ac:spMk id="81" creationId="{8C0E2987-8B66-BB37-F3EE-73163639C51A}"/>
          </ac:spMkLst>
        </pc:spChg>
        <pc:spChg chg="add mod">
          <ac:chgData name="Irina Keis" userId="56f9a881-46b7-4ded-bd86-4ecf61719e5e" providerId="ADAL" clId="{3FC84C9B-92AB-4102-B8A4-8DF3AFA18152}" dt="2023-12-02T19:05:45.491" v="1639" actId="571"/>
          <ac:spMkLst>
            <pc:docMk/>
            <pc:sldMk cId="1684807928" sldId="415"/>
            <ac:spMk id="83" creationId="{812D83C1-42A2-F277-DDE5-3BBEB34E7DD9}"/>
          </ac:spMkLst>
        </pc:spChg>
        <pc:spChg chg="add mod">
          <ac:chgData name="Irina Keis" userId="56f9a881-46b7-4ded-bd86-4ecf61719e5e" providerId="ADAL" clId="{3FC84C9B-92AB-4102-B8A4-8DF3AFA18152}" dt="2023-12-02T19:05:45.491" v="1639" actId="571"/>
          <ac:spMkLst>
            <pc:docMk/>
            <pc:sldMk cId="1684807928" sldId="415"/>
            <ac:spMk id="84" creationId="{E74F578A-2299-C415-874F-D0BF67D7F877}"/>
          </ac:spMkLst>
        </pc:spChg>
        <pc:spChg chg="add mod">
          <ac:chgData name="Irina Keis" userId="56f9a881-46b7-4ded-bd86-4ecf61719e5e" providerId="ADAL" clId="{3FC84C9B-92AB-4102-B8A4-8DF3AFA18152}" dt="2023-12-02T19:19:21.611" v="1927" actId="1076"/>
          <ac:spMkLst>
            <pc:docMk/>
            <pc:sldMk cId="1684807928" sldId="415"/>
            <ac:spMk id="89" creationId="{3DA1CCC7-3AEC-959C-79AE-F94991806A07}"/>
          </ac:spMkLst>
        </pc:spChg>
        <pc:spChg chg="add mod">
          <ac:chgData name="Irina Keis" userId="56f9a881-46b7-4ded-bd86-4ecf61719e5e" providerId="ADAL" clId="{3FC84C9B-92AB-4102-B8A4-8DF3AFA18152}" dt="2023-12-02T19:19:21.611" v="1927" actId="1076"/>
          <ac:spMkLst>
            <pc:docMk/>
            <pc:sldMk cId="1684807928" sldId="415"/>
            <ac:spMk id="90" creationId="{975F8334-7AF2-5CE2-3C8E-837AB7A92529}"/>
          </ac:spMkLst>
        </pc:spChg>
        <pc:spChg chg="add mod">
          <ac:chgData name="Irina Keis" userId="56f9a881-46b7-4ded-bd86-4ecf61719e5e" providerId="ADAL" clId="{3FC84C9B-92AB-4102-B8A4-8DF3AFA18152}" dt="2023-12-02T19:10:24.401" v="1746" actId="571"/>
          <ac:spMkLst>
            <pc:docMk/>
            <pc:sldMk cId="1684807928" sldId="415"/>
            <ac:spMk id="91" creationId="{CCD3F656-2AC6-ED62-8C04-28CE07B43E2F}"/>
          </ac:spMkLst>
        </pc:spChg>
        <pc:spChg chg="add mod">
          <ac:chgData name="Irina Keis" userId="56f9a881-46b7-4ded-bd86-4ecf61719e5e" providerId="ADAL" clId="{3FC84C9B-92AB-4102-B8A4-8DF3AFA18152}" dt="2023-12-02T19:10:24.401" v="1746" actId="571"/>
          <ac:spMkLst>
            <pc:docMk/>
            <pc:sldMk cId="1684807928" sldId="415"/>
            <ac:spMk id="92" creationId="{3D816A18-62BB-D3D4-30C7-858DC091377A}"/>
          </ac:spMkLst>
        </pc:spChg>
        <pc:spChg chg="add mod">
          <ac:chgData name="Irina Keis" userId="56f9a881-46b7-4ded-bd86-4ecf61719e5e" providerId="ADAL" clId="{3FC84C9B-92AB-4102-B8A4-8DF3AFA18152}" dt="2023-12-02T19:19:21.611" v="1927" actId="1076"/>
          <ac:spMkLst>
            <pc:docMk/>
            <pc:sldMk cId="1684807928" sldId="415"/>
            <ac:spMk id="93" creationId="{0C2ED63B-6AA8-DC23-509B-9BD76B623DD9}"/>
          </ac:spMkLst>
        </pc:spChg>
        <pc:spChg chg="add mod">
          <ac:chgData name="Irina Keis" userId="56f9a881-46b7-4ded-bd86-4ecf61719e5e" providerId="ADAL" clId="{3FC84C9B-92AB-4102-B8A4-8DF3AFA18152}" dt="2023-12-02T19:19:46.963" v="1934" actId="571"/>
          <ac:spMkLst>
            <pc:docMk/>
            <pc:sldMk cId="1684807928" sldId="415"/>
            <ac:spMk id="95" creationId="{080EEF9B-2D3C-89F9-F582-6B7C0D7FDED7}"/>
          </ac:spMkLst>
        </pc:spChg>
        <pc:spChg chg="add mod">
          <ac:chgData name="Irina Keis" userId="56f9a881-46b7-4ded-bd86-4ecf61719e5e" providerId="ADAL" clId="{3FC84C9B-92AB-4102-B8A4-8DF3AFA18152}" dt="2023-12-02T19:19:46.963" v="1934" actId="571"/>
          <ac:spMkLst>
            <pc:docMk/>
            <pc:sldMk cId="1684807928" sldId="415"/>
            <ac:spMk id="96" creationId="{BBE29968-133A-5D19-EACD-317AAD1DC7BD}"/>
          </ac:spMkLst>
        </pc:spChg>
        <pc:picChg chg="add del mod">
          <ac:chgData name="Irina Keis" userId="56f9a881-46b7-4ded-bd86-4ecf61719e5e" providerId="ADAL" clId="{3FC84C9B-92AB-4102-B8A4-8DF3AFA18152}" dt="2023-12-02T17:09:25.391" v="155" actId="478"/>
          <ac:picMkLst>
            <pc:docMk/>
            <pc:sldMk cId="1684807928" sldId="415"/>
            <ac:picMk id="3" creationId="{39F9F74E-F054-7D93-1DD1-C3F8AF1172D1}"/>
          </ac:picMkLst>
        </pc:picChg>
        <pc:picChg chg="add del mod">
          <ac:chgData name="Irina Keis" userId="56f9a881-46b7-4ded-bd86-4ecf61719e5e" providerId="ADAL" clId="{3FC84C9B-92AB-4102-B8A4-8DF3AFA18152}" dt="2023-12-02T17:07:51.918" v="144" actId="478"/>
          <ac:picMkLst>
            <pc:docMk/>
            <pc:sldMk cId="1684807928" sldId="415"/>
            <ac:picMk id="4" creationId="{AD1EF508-0BFE-E4E3-5230-ADEB0C15C061}"/>
          </ac:picMkLst>
        </pc:picChg>
        <pc:picChg chg="add del mod">
          <ac:chgData name="Irina Keis" userId="56f9a881-46b7-4ded-bd86-4ecf61719e5e" providerId="ADAL" clId="{3FC84C9B-92AB-4102-B8A4-8DF3AFA18152}" dt="2023-12-02T17:24:41.472" v="375" actId="478"/>
          <ac:picMkLst>
            <pc:docMk/>
            <pc:sldMk cId="1684807928" sldId="415"/>
            <ac:picMk id="18" creationId="{0CDA8F5D-EAAF-39EB-96F5-709DABF3A876}"/>
          </ac:picMkLst>
        </pc:picChg>
        <pc:picChg chg="add del mod">
          <ac:chgData name="Irina Keis" userId="56f9a881-46b7-4ded-bd86-4ecf61719e5e" providerId="ADAL" clId="{3FC84C9B-92AB-4102-B8A4-8DF3AFA18152}" dt="2023-12-02T18:27:08.853" v="1074" actId="478"/>
          <ac:picMkLst>
            <pc:docMk/>
            <pc:sldMk cId="1684807928" sldId="415"/>
            <ac:picMk id="23" creationId="{14DBF57B-5D22-79D4-F23A-48D13900A816}"/>
          </ac:picMkLst>
        </pc:picChg>
        <pc:picChg chg="add del mod">
          <ac:chgData name="Irina Keis" userId="56f9a881-46b7-4ded-bd86-4ecf61719e5e" providerId="ADAL" clId="{3FC84C9B-92AB-4102-B8A4-8DF3AFA18152}" dt="2023-12-02T18:54:54.448" v="1573" actId="21"/>
          <ac:picMkLst>
            <pc:docMk/>
            <pc:sldMk cId="1684807928" sldId="415"/>
            <ac:picMk id="26" creationId="{244A74B3-BF75-C6B9-5582-2647B7D62413}"/>
          </ac:picMkLst>
        </pc:picChg>
        <pc:picChg chg="add mod">
          <ac:chgData name="Irina Keis" userId="56f9a881-46b7-4ded-bd86-4ecf61719e5e" providerId="ADAL" clId="{3FC84C9B-92AB-4102-B8A4-8DF3AFA18152}" dt="2023-12-02T19:20:00.562" v="1935" actId="1076"/>
          <ac:picMkLst>
            <pc:docMk/>
            <pc:sldMk cId="1684807928" sldId="415"/>
            <ac:picMk id="27" creationId="{2740CA97-FB10-0BAF-9DDB-EF63D480F5BF}"/>
          </ac:picMkLst>
        </pc:picChg>
        <pc:picChg chg="add mod">
          <ac:chgData name="Irina Keis" userId="56f9a881-46b7-4ded-bd86-4ecf61719e5e" providerId="ADAL" clId="{3FC84C9B-92AB-4102-B8A4-8DF3AFA18152}" dt="2023-12-02T19:20:00.562" v="1935" actId="1076"/>
          <ac:picMkLst>
            <pc:docMk/>
            <pc:sldMk cId="1684807928" sldId="415"/>
            <ac:picMk id="28" creationId="{8CA7810B-20DA-7740-7738-F0F91387FBBD}"/>
          </ac:picMkLst>
        </pc:picChg>
        <pc:picChg chg="add del mod">
          <ac:chgData name="Irina Keis" userId="56f9a881-46b7-4ded-bd86-4ecf61719e5e" providerId="ADAL" clId="{3FC84C9B-92AB-4102-B8A4-8DF3AFA18152}" dt="2023-12-02T18:46:32.297" v="1450" actId="478"/>
          <ac:picMkLst>
            <pc:docMk/>
            <pc:sldMk cId="1684807928" sldId="415"/>
            <ac:picMk id="44" creationId="{1B62668B-689C-3BF7-82A8-7E4151B253C4}"/>
          </ac:picMkLst>
        </pc:picChg>
        <pc:picChg chg="add del mod">
          <ac:chgData name="Irina Keis" userId="56f9a881-46b7-4ded-bd86-4ecf61719e5e" providerId="ADAL" clId="{3FC84C9B-92AB-4102-B8A4-8DF3AFA18152}" dt="2023-12-02T18:46:30.668" v="1449" actId="478"/>
          <ac:picMkLst>
            <pc:docMk/>
            <pc:sldMk cId="1684807928" sldId="415"/>
            <ac:picMk id="61" creationId="{189708AA-D5FA-9CFA-4E97-33BA5C4C3B34}"/>
          </ac:picMkLst>
        </pc:picChg>
        <pc:picChg chg="add del mod">
          <ac:chgData name="Irina Keis" userId="56f9a881-46b7-4ded-bd86-4ecf61719e5e" providerId="ADAL" clId="{3FC84C9B-92AB-4102-B8A4-8DF3AFA18152}" dt="2023-12-02T18:46:33.354" v="1451" actId="478"/>
          <ac:picMkLst>
            <pc:docMk/>
            <pc:sldMk cId="1684807928" sldId="415"/>
            <ac:picMk id="62" creationId="{E0770942-9378-39E2-C201-240BED9B3899}"/>
          </ac:picMkLst>
        </pc:picChg>
        <pc:picChg chg="add mod">
          <ac:chgData name="Irina Keis" userId="56f9a881-46b7-4ded-bd86-4ecf61719e5e" providerId="ADAL" clId="{3FC84C9B-92AB-4102-B8A4-8DF3AFA18152}" dt="2023-12-02T19:20:00.562" v="1935" actId="1076"/>
          <ac:picMkLst>
            <pc:docMk/>
            <pc:sldMk cId="1684807928" sldId="415"/>
            <ac:picMk id="71" creationId="{2EB4E279-DAFA-49AA-D61E-DBF55D08F9E7}"/>
          </ac:picMkLst>
        </pc:picChg>
        <pc:picChg chg="add del mod">
          <ac:chgData name="Irina Keis" userId="56f9a881-46b7-4ded-bd86-4ecf61719e5e" providerId="ADAL" clId="{3FC84C9B-92AB-4102-B8A4-8DF3AFA18152}" dt="2023-12-02T19:07:36.220" v="1654" actId="478"/>
          <ac:picMkLst>
            <pc:docMk/>
            <pc:sldMk cId="1684807928" sldId="415"/>
            <ac:picMk id="72" creationId="{3BFDA731-7127-03C4-4022-B78D8400E115}"/>
          </ac:picMkLst>
        </pc:picChg>
        <pc:picChg chg="add del mod">
          <ac:chgData name="Irina Keis" userId="56f9a881-46b7-4ded-bd86-4ecf61719e5e" providerId="ADAL" clId="{3FC84C9B-92AB-4102-B8A4-8DF3AFA18152}" dt="2023-12-02T19:07:34.922" v="1653" actId="478"/>
          <ac:picMkLst>
            <pc:docMk/>
            <pc:sldMk cId="1684807928" sldId="415"/>
            <ac:picMk id="73" creationId="{55159B23-911E-34F4-D139-76CE9A3AAF43}"/>
          </ac:picMkLst>
        </pc:picChg>
        <pc:picChg chg="add del mod">
          <ac:chgData name="Irina Keis" userId="56f9a881-46b7-4ded-bd86-4ecf61719e5e" providerId="ADAL" clId="{3FC84C9B-92AB-4102-B8A4-8DF3AFA18152}" dt="2023-12-02T19:07:37.319" v="1655" actId="478"/>
          <ac:picMkLst>
            <pc:docMk/>
            <pc:sldMk cId="1684807928" sldId="415"/>
            <ac:picMk id="74" creationId="{04628B62-CF2C-F2BB-4B01-F2577410200D}"/>
          </ac:picMkLst>
        </pc:picChg>
        <pc:picChg chg="add mod">
          <ac:chgData name="Irina Keis" userId="56f9a881-46b7-4ded-bd86-4ecf61719e5e" providerId="ADAL" clId="{3FC84C9B-92AB-4102-B8A4-8DF3AFA18152}" dt="2023-12-02T19:05:45.491" v="1639" actId="571"/>
          <ac:picMkLst>
            <pc:docMk/>
            <pc:sldMk cId="1684807928" sldId="415"/>
            <ac:picMk id="82" creationId="{058F0527-19CD-8E58-7EB8-845F132F954C}"/>
          </ac:picMkLst>
        </pc:picChg>
        <pc:picChg chg="add mod">
          <ac:chgData name="Irina Keis" userId="56f9a881-46b7-4ded-bd86-4ecf61719e5e" providerId="ADAL" clId="{3FC84C9B-92AB-4102-B8A4-8DF3AFA18152}" dt="2023-12-02T19:05:45.491" v="1639" actId="571"/>
          <ac:picMkLst>
            <pc:docMk/>
            <pc:sldMk cId="1684807928" sldId="415"/>
            <ac:picMk id="85" creationId="{7804EA26-B969-CE34-09A3-FDA7390FEEBE}"/>
          </ac:picMkLst>
        </pc:picChg>
        <pc:picChg chg="add mod">
          <ac:chgData name="Irina Keis" userId="56f9a881-46b7-4ded-bd86-4ecf61719e5e" providerId="ADAL" clId="{3FC84C9B-92AB-4102-B8A4-8DF3AFA18152}" dt="2023-12-02T19:06:07.650" v="1642" actId="571"/>
          <ac:picMkLst>
            <pc:docMk/>
            <pc:sldMk cId="1684807928" sldId="415"/>
            <ac:picMk id="86" creationId="{579C5E45-F0E5-1096-412E-52663171A79C}"/>
          </ac:picMkLst>
        </pc:picChg>
        <pc:picChg chg="add mod">
          <ac:chgData name="Irina Keis" userId="56f9a881-46b7-4ded-bd86-4ecf61719e5e" providerId="ADAL" clId="{3FC84C9B-92AB-4102-B8A4-8DF3AFA18152}" dt="2023-12-02T19:06:07.650" v="1642" actId="571"/>
          <ac:picMkLst>
            <pc:docMk/>
            <pc:sldMk cId="1684807928" sldId="415"/>
            <ac:picMk id="87" creationId="{2497CA8F-83FD-F6E5-1BFE-ADAB871499CD}"/>
          </ac:picMkLst>
        </pc:picChg>
        <pc:picChg chg="add mod">
          <ac:chgData name="Irina Keis" userId="56f9a881-46b7-4ded-bd86-4ecf61719e5e" providerId="ADAL" clId="{3FC84C9B-92AB-4102-B8A4-8DF3AFA18152}" dt="2023-12-02T19:06:07.650" v="1642" actId="571"/>
          <ac:picMkLst>
            <pc:docMk/>
            <pc:sldMk cId="1684807928" sldId="415"/>
            <ac:picMk id="88" creationId="{44C93C05-11D0-B064-E139-1679CB9B3330}"/>
          </ac:picMkLst>
        </pc:picChg>
        <pc:picChg chg="add mod">
          <ac:chgData name="Irina Keis" userId="56f9a881-46b7-4ded-bd86-4ecf61719e5e" providerId="ADAL" clId="{3FC84C9B-92AB-4102-B8A4-8DF3AFA18152}" dt="2023-12-02T19:19:46.963" v="1934" actId="571"/>
          <ac:picMkLst>
            <pc:docMk/>
            <pc:sldMk cId="1684807928" sldId="415"/>
            <ac:picMk id="94" creationId="{95641103-EA9A-88FB-AC49-06E632C2296A}"/>
          </ac:picMkLst>
        </pc:picChg>
        <pc:picChg chg="add mod">
          <ac:chgData name="Irina Keis" userId="56f9a881-46b7-4ded-bd86-4ecf61719e5e" providerId="ADAL" clId="{3FC84C9B-92AB-4102-B8A4-8DF3AFA18152}" dt="2023-12-02T19:19:46.963" v="1934" actId="571"/>
          <ac:picMkLst>
            <pc:docMk/>
            <pc:sldMk cId="1684807928" sldId="415"/>
            <ac:picMk id="97" creationId="{276EA309-A8B8-9062-F93B-839BF524C79E}"/>
          </ac:picMkLst>
        </pc:picChg>
        <pc:cxnChg chg="add del">
          <ac:chgData name="Irina Keis" userId="56f9a881-46b7-4ded-bd86-4ecf61719e5e" providerId="ADAL" clId="{3FC84C9B-92AB-4102-B8A4-8DF3AFA18152}" dt="2023-12-02T19:20:16.213" v="1938" actId="478"/>
          <ac:cxnSpMkLst>
            <pc:docMk/>
            <pc:sldMk cId="1684807928" sldId="415"/>
            <ac:cxnSpMk id="69" creationId="{F92CDB92-C220-0686-0153-E58A1B746B00}"/>
          </ac:cxnSpMkLst>
        </pc:cxnChg>
        <pc:cxnChg chg="add mod">
          <ac:chgData name="Irina Keis" userId="56f9a881-46b7-4ded-bd86-4ecf61719e5e" providerId="ADAL" clId="{3FC84C9B-92AB-4102-B8A4-8DF3AFA18152}" dt="2023-12-02T19:20:08.899" v="1937" actId="13822"/>
          <ac:cxnSpMkLst>
            <pc:docMk/>
            <pc:sldMk cId="1684807928" sldId="415"/>
            <ac:cxnSpMk id="70" creationId="{63575D58-4D2E-171D-52E0-081B2A055BD9}"/>
          </ac:cxnSpMkLst>
        </pc:cxnChg>
        <pc:cxnChg chg="add mod">
          <ac:chgData name="Irina Keis" userId="56f9a881-46b7-4ded-bd86-4ecf61719e5e" providerId="ADAL" clId="{3FC84C9B-92AB-4102-B8A4-8DF3AFA18152}" dt="2023-12-02T19:20:23.667" v="1940" actId="1076"/>
          <ac:cxnSpMkLst>
            <pc:docMk/>
            <pc:sldMk cId="1684807928" sldId="415"/>
            <ac:cxnSpMk id="98" creationId="{30D84211-13F2-B03A-79B6-B1B1217BF017}"/>
          </ac:cxnSpMkLst>
        </pc:cxnChg>
      </pc:sldChg>
      <pc:sldChg chg="new del">
        <pc:chgData name="Irina Keis" userId="56f9a881-46b7-4ded-bd86-4ecf61719e5e" providerId="ADAL" clId="{3FC84C9B-92AB-4102-B8A4-8DF3AFA18152}" dt="2023-12-02T17:20:59.838" v="326" actId="680"/>
        <pc:sldMkLst>
          <pc:docMk/>
          <pc:sldMk cId="3035073329" sldId="416"/>
        </pc:sldMkLst>
      </pc:sldChg>
    </pc:docChg>
  </pc:docChgLst>
  <pc:docChgLst>
    <pc:chgData name="Francisco Joao Correia Antelo" userId="705ee03e-8739-44a7-9631-d458549373b6" providerId="ADAL" clId="{5802E74D-A57C-40FA-AE09-EA4320EDB3BE}"/>
    <pc:docChg chg="undo redo custSel addSld delSld modSld">
      <pc:chgData name="Francisco Joao Correia Antelo" userId="705ee03e-8739-44a7-9631-d458549373b6" providerId="ADAL" clId="{5802E74D-A57C-40FA-AE09-EA4320EDB3BE}" dt="2023-12-03T17:30:03.273" v="1712" actId="20577"/>
      <pc:docMkLst>
        <pc:docMk/>
      </pc:docMkLst>
      <pc:sldChg chg="modSp mod">
        <pc:chgData name="Francisco Joao Correia Antelo" userId="705ee03e-8739-44a7-9631-d458549373b6" providerId="ADAL" clId="{5802E74D-A57C-40FA-AE09-EA4320EDB3BE}" dt="2023-12-03T17:20:54.818" v="1706" actId="790"/>
        <pc:sldMkLst>
          <pc:docMk/>
          <pc:sldMk cId="2997527192" sldId="259"/>
        </pc:sldMkLst>
        <pc:spChg chg="mod">
          <ac:chgData name="Francisco Joao Correia Antelo" userId="705ee03e-8739-44a7-9631-d458549373b6" providerId="ADAL" clId="{5802E74D-A57C-40FA-AE09-EA4320EDB3BE}" dt="2023-12-03T17:20:41.452" v="1705" actId="313"/>
          <ac:spMkLst>
            <pc:docMk/>
            <pc:sldMk cId="2997527192" sldId="259"/>
            <ac:spMk id="5" creationId="{D8023373-EE3D-862E-E7EE-CE61893FE606}"/>
          </ac:spMkLst>
        </pc:spChg>
        <pc:spChg chg="mod">
          <ac:chgData name="Francisco Joao Correia Antelo" userId="705ee03e-8739-44a7-9631-d458549373b6" providerId="ADAL" clId="{5802E74D-A57C-40FA-AE09-EA4320EDB3BE}" dt="2023-12-03T17:20:54.818" v="1706" actId="790"/>
          <ac:spMkLst>
            <pc:docMk/>
            <pc:sldMk cId="2997527192" sldId="259"/>
            <ac:spMk id="11" creationId="{9ED99FB4-2BDF-1A61-C33D-C61E547A6C06}"/>
          </ac:spMkLst>
        </pc:spChg>
      </pc:sldChg>
      <pc:sldChg chg="addSp delSp modSp mod modCm">
        <pc:chgData name="Francisco Joao Correia Antelo" userId="705ee03e-8739-44a7-9631-d458549373b6" providerId="ADAL" clId="{5802E74D-A57C-40FA-AE09-EA4320EDB3BE}" dt="2023-12-03T13:21:21.212" v="1656" actId="20577"/>
        <pc:sldMkLst>
          <pc:docMk/>
          <pc:sldMk cId="4222592916" sldId="265"/>
        </pc:sldMkLst>
        <pc:spChg chg="mod">
          <ac:chgData name="Francisco Joao Correia Antelo" userId="705ee03e-8739-44a7-9631-d458549373b6" providerId="ADAL" clId="{5802E74D-A57C-40FA-AE09-EA4320EDB3BE}" dt="2023-12-01T19:28:59.958" v="24" actId="1076"/>
          <ac:spMkLst>
            <pc:docMk/>
            <pc:sldMk cId="4222592916" sldId="265"/>
            <ac:spMk id="2" creationId="{76E4AEB6-FDFD-F301-2398-87C7E73B46DA}"/>
          </ac:spMkLst>
        </pc:spChg>
        <pc:spChg chg="mod">
          <ac:chgData name="Francisco Joao Correia Antelo" userId="705ee03e-8739-44a7-9631-d458549373b6" providerId="ADAL" clId="{5802E74D-A57C-40FA-AE09-EA4320EDB3BE}" dt="2023-12-03T13:21:21.212" v="1656" actId="20577"/>
          <ac:spMkLst>
            <pc:docMk/>
            <pc:sldMk cId="4222592916" sldId="265"/>
            <ac:spMk id="5" creationId="{CBD3180A-8EEC-0027-1BFE-09D90202C372}"/>
          </ac:spMkLst>
        </pc:spChg>
        <pc:spChg chg="mod">
          <ac:chgData name="Francisco Joao Correia Antelo" userId="705ee03e-8739-44a7-9631-d458549373b6" providerId="ADAL" clId="{5802E74D-A57C-40FA-AE09-EA4320EDB3BE}" dt="2023-12-02T20:41:58.115" v="1385" actId="14100"/>
          <ac:spMkLst>
            <pc:docMk/>
            <pc:sldMk cId="4222592916" sldId="265"/>
            <ac:spMk id="8" creationId="{AA1CD7A6-15D1-06BD-EB41-1927DECA0B59}"/>
          </ac:spMkLst>
        </pc:spChg>
        <pc:spChg chg="add del">
          <ac:chgData name="Francisco Joao Correia Antelo" userId="705ee03e-8739-44a7-9631-d458549373b6" providerId="ADAL" clId="{5802E74D-A57C-40FA-AE09-EA4320EDB3BE}" dt="2023-12-01T19:21:46.388" v="19" actId="22"/>
          <ac:spMkLst>
            <pc:docMk/>
            <pc:sldMk cId="4222592916" sldId="265"/>
            <ac:spMk id="10" creationId="{D52EEF38-399D-1FCE-2317-39AB4C2A6D4C}"/>
          </ac:spMkLst>
        </pc:spChg>
        <pc:graphicFrameChg chg="mod modGraphic">
          <ac:chgData name="Francisco Joao Correia Antelo" userId="705ee03e-8739-44a7-9631-d458549373b6" providerId="ADAL" clId="{5802E74D-A57C-40FA-AE09-EA4320EDB3BE}" dt="2023-12-01T19:08:20.627" v="16" actId="108"/>
          <ac:graphicFrameMkLst>
            <pc:docMk/>
            <pc:sldMk cId="4222592916" sldId="265"/>
            <ac:graphicFrameMk id="11" creationId="{EEFA177F-947E-B232-21E8-BC34E4DF3FC6}"/>
          </ac:graphicFrameMkLst>
        </pc:graphicFrameChg>
        <pc:picChg chg="add del mod">
          <ac:chgData name="Francisco Joao Correia Antelo" userId="705ee03e-8739-44a7-9631-d458549373b6" providerId="ADAL" clId="{5802E74D-A57C-40FA-AE09-EA4320EDB3BE}" dt="2023-12-01T19:03:55.154" v="5" actId="478"/>
          <ac:picMkLst>
            <pc:docMk/>
            <pc:sldMk cId="4222592916" sldId="265"/>
            <ac:picMk id="7" creationId="{6B23A263-B797-E2DD-855F-F87489CE7660}"/>
          </ac:picMkLst>
        </pc:picChg>
        <pc:picChg chg="add mod">
          <ac:chgData name="Francisco Joao Correia Antelo" userId="705ee03e-8739-44a7-9631-d458549373b6" providerId="ADAL" clId="{5802E74D-A57C-40FA-AE09-EA4320EDB3BE}" dt="2023-12-02T20:41:17.282" v="1379" actId="14100"/>
          <ac:picMkLst>
            <pc:docMk/>
            <pc:sldMk cId="4222592916" sldId="265"/>
            <ac:picMk id="16" creationId="{AE023ECC-1570-DD60-D31F-46EF5171E094}"/>
          </ac:picMkLst>
        </pc:picChg>
      </pc:sldChg>
      <pc:sldChg chg="modSp mod">
        <pc:chgData name="Francisco Joao Correia Antelo" userId="705ee03e-8739-44a7-9631-d458549373b6" providerId="ADAL" clId="{5802E74D-A57C-40FA-AE09-EA4320EDB3BE}" dt="2023-12-03T17:22:36.894" v="1710" actId="790"/>
        <pc:sldMkLst>
          <pc:docMk/>
          <pc:sldMk cId="2600468727" sldId="270"/>
        </pc:sldMkLst>
        <pc:spChg chg="mod">
          <ac:chgData name="Francisco Joao Correia Antelo" userId="705ee03e-8739-44a7-9631-d458549373b6" providerId="ADAL" clId="{5802E74D-A57C-40FA-AE09-EA4320EDB3BE}" dt="2023-12-03T17:22:36.894" v="1710" actId="790"/>
          <ac:spMkLst>
            <pc:docMk/>
            <pc:sldMk cId="2600468727" sldId="270"/>
            <ac:spMk id="16" creationId="{DF29E7B4-6607-540B-2D74-612452C5FB5A}"/>
          </ac:spMkLst>
        </pc:spChg>
        <pc:graphicFrameChg chg="mod">
          <ac:chgData name="Francisco Joao Correia Antelo" userId="705ee03e-8739-44a7-9631-d458549373b6" providerId="ADAL" clId="{5802E74D-A57C-40FA-AE09-EA4320EDB3BE}" dt="2023-12-02T20:10:44.883" v="1082"/>
          <ac:graphicFrameMkLst>
            <pc:docMk/>
            <pc:sldMk cId="2600468727" sldId="270"/>
            <ac:graphicFrameMk id="2" creationId="{05540156-63B3-F0B3-69B0-850741C21F54}"/>
          </ac:graphicFrameMkLst>
        </pc:graphicFrameChg>
      </pc:sldChg>
      <pc:sldChg chg="modSp mod">
        <pc:chgData name="Francisco Joao Correia Antelo" userId="705ee03e-8739-44a7-9631-d458549373b6" providerId="ADAL" clId="{5802E74D-A57C-40FA-AE09-EA4320EDB3BE}" dt="2023-12-03T17:29:29.650" v="1711" actId="6549"/>
        <pc:sldMkLst>
          <pc:docMk/>
          <pc:sldMk cId="3674208978" sldId="271"/>
        </pc:sldMkLst>
        <pc:spChg chg="mod">
          <ac:chgData name="Francisco Joao Correia Antelo" userId="705ee03e-8739-44a7-9631-d458549373b6" providerId="ADAL" clId="{5802E74D-A57C-40FA-AE09-EA4320EDB3BE}" dt="2023-12-03T17:29:29.650" v="1711" actId="6549"/>
          <ac:spMkLst>
            <pc:docMk/>
            <pc:sldMk cId="3674208978" sldId="271"/>
            <ac:spMk id="6" creationId="{670AD740-E629-1BA7-1807-3CE135168FAD}"/>
          </ac:spMkLst>
        </pc:spChg>
        <pc:spChg chg="mod">
          <ac:chgData name="Francisco Joao Correia Antelo" userId="705ee03e-8739-44a7-9631-d458549373b6" providerId="ADAL" clId="{5802E74D-A57C-40FA-AE09-EA4320EDB3BE}" dt="2023-12-03T17:21:58.641" v="1708" actId="790"/>
          <ac:spMkLst>
            <pc:docMk/>
            <pc:sldMk cId="3674208978" sldId="271"/>
            <ac:spMk id="16" creationId="{DF29E7B4-6607-540B-2D74-612452C5FB5A}"/>
          </ac:spMkLst>
        </pc:spChg>
        <pc:spChg chg="mod">
          <ac:chgData name="Francisco Joao Correia Antelo" userId="705ee03e-8739-44a7-9631-d458549373b6" providerId="ADAL" clId="{5802E74D-A57C-40FA-AE09-EA4320EDB3BE}" dt="2023-12-03T17:21:42.443" v="1707" actId="790"/>
          <ac:spMkLst>
            <pc:docMk/>
            <pc:sldMk cId="3674208978" sldId="271"/>
            <ac:spMk id="25" creationId="{13ADDB39-9093-F0B9-87D6-43B97E62BD39}"/>
          </ac:spMkLst>
        </pc:spChg>
      </pc:sldChg>
      <pc:sldChg chg="modSp">
        <pc:chgData name="Francisco Joao Correia Antelo" userId="705ee03e-8739-44a7-9631-d458549373b6" providerId="ADAL" clId="{5802E74D-A57C-40FA-AE09-EA4320EDB3BE}" dt="2023-12-02T20:13:09.144" v="1085" actId="18714"/>
        <pc:sldMkLst>
          <pc:docMk/>
          <pc:sldMk cId="1003143522" sldId="398"/>
        </pc:sldMkLst>
        <pc:graphicFrameChg chg="mod">
          <ac:chgData name="Francisco Joao Correia Antelo" userId="705ee03e-8739-44a7-9631-d458549373b6" providerId="ADAL" clId="{5802E74D-A57C-40FA-AE09-EA4320EDB3BE}" dt="2023-12-02T20:13:09.144" v="1085" actId="18714"/>
          <ac:graphicFrameMkLst>
            <pc:docMk/>
            <pc:sldMk cId="1003143522" sldId="398"/>
            <ac:graphicFrameMk id="2" creationId="{05540156-63B3-F0B3-69B0-850741C21F54}"/>
          </ac:graphicFrameMkLst>
        </pc:graphicFrameChg>
      </pc:sldChg>
      <pc:sldChg chg="delCm">
        <pc:chgData name="Francisco Joao Correia Antelo" userId="705ee03e-8739-44a7-9631-d458549373b6" providerId="ADAL" clId="{5802E74D-A57C-40FA-AE09-EA4320EDB3BE}" dt="2023-12-03T17:17:30.498" v="1694"/>
        <pc:sldMkLst>
          <pc:docMk/>
          <pc:sldMk cId="612588230" sldId="400"/>
        </pc:sldMkLst>
      </pc:sldChg>
      <pc:sldChg chg="modSp mod">
        <pc:chgData name="Francisco Joao Correia Antelo" userId="705ee03e-8739-44a7-9631-d458549373b6" providerId="ADAL" clId="{5802E74D-A57C-40FA-AE09-EA4320EDB3BE}" dt="2023-12-03T17:30:03.273" v="1712" actId="20577"/>
        <pc:sldMkLst>
          <pc:docMk/>
          <pc:sldMk cId="436138604" sldId="403"/>
        </pc:sldMkLst>
        <pc:spChg chg="mod">
          <ac:chgData name="Francisco Joao Correia Antelo" userId="705ee03e-8739-44a7-9631-d458549373b6" providerId="ADAL" clId="{5802E74D-A57C-40FA-AE09-EA4320EDB3BE}" dt="2023-12-03T17:30:03.273" v="1712" actId="20577"/>
          <ac:spMkLst>
            <pc:docMk/>
            <pc:sldMk cId="436138604" sldId="403"/>
            <ac:spMk id="2" creationId="{55EC9EB9-31D0-746C-6198-45C05945FE60}"/>
          </ac:spMkLst>
        </pc:spChg>
        <pc:spChg chg="mod">
          <ac:chgData name="Francisco Joao Correia Antelo" userId="705ee03e-8739-44a7-9631-d458549373b6" providerId="ADAL" clId="{5802E74D-A57C-40FA-AE09-EA4320EDB3BE}" dt="2023-12-03T17:22:22.794" v="1709" actId="790"/>
          <ac:spMkLst>
            <pc:docMk/>
            <pc:sldMk cId="436138604" sldId="403"/>
            <ac:spMk id="37" creationId="{AD4D45B0-5E57-0366-5454-2587875C7E6C}"/>
          </ac:spMkLst>
        </pc:spChg>
      </pc:sldChg>
      <pc:sldChg chg="modSp mod">
        <pc:chgData name="Francisco Joao Correia Antelo" userId="705ee03e-8739-44a7-9631-d458549373b6" providerId="ADAL" clId="{5802E74D-A57C-40FA-AE09-EA4320EDB3BE}" dt="2023-12-03T17:20:17.896" v="1702" actId="14100"/>
        <pc:sldMkLst>
          <pc:docMk/>
          <pc:sldMk cId="2926278344" sldId="406"/>
        </pc:sldMkLst>
        <pc:spChg chg="mod">
          <ac:chgData name="Francisco Joao Correia Antelo" userId="705ee03e-8739-44a7-9631-d458549373b6" providerId="ADAL" clId="{5802E74D-A57C-40FA-AE09-EA4320EDB3BE}" dt="2023-12-03T17:20:17.896" v="1702" actId="14100"/>
          <ac:spMkLst>
            <pc:docMk/>
            <pc:sldMk cId="2926278344" sldId="406"/>
            <ac:spMk id="6" creationId="{30C7E2AE-AEA0-D6E9-7253-4F9C0CE33169}"/>
          </ac:spMkLst>
        </pc:spChg>
        <pc:spChg chg="mod">
          <ac:chgData name="Francisco Joao Correia Antelo" userId="705ee03e-8739-44a7-9631-d458549373b6" providerId="ADAL" clId="{5802E74D-A57C-40FA-AE09-EA4320EDB3BE}" dt="2023-12-03T17:19:20.959" v="1695" actId="790"/>
          <ac:spMkLst>
            <pc:docMk/>
            <pc:sldMk cId="2926278344" sldId="406"/>
            <ac:spMk id="16" creationId="{DF29E7B4-6607-540B-2D74-612452C5FB5A}"/>
          </ac:spMkLst>
        </pc:spChg>
        <pc:spChg chg="mod">
          <ac:chgData name="Francisco Joao Correia Antelo" userId="705ee03e-8739-44a7-9631-d458549373b6" providerId="ADAL" clId="{5802E74D-A57C-40FA-AE09-EA4320EDB3BE}" dt="2023-12-03T16:57:34.279" v="1682" actId="1037"/>
          <ac:spMkLst>
            <pc:docMk/>
            <pc:sldMk cId="2926278344" sldId="406"/>
            <ac:spMk id="27" creationId="{A29C6E46-4BD7-F573-F563-6F48D70253CF}"/>
          </ac:spMkLst>
        </pc:spChg>
        <pc:cxnChg chg="mod">
          <ac:chgData name="Francisco Joao Correia Antelo" userId="705ee03e-8739-44a7-9631-d458549373b6" providerId="ADAL" clId="{5802E74D-A57C-40FA-AE09-EA4320EDB3BE}" dt="2023-12-03T16:49:41.331" v="1675" actId="14100"/>
          <ac:cxnSpMkLst>
            <pc:docMk/>
            <pc:sldMk cId="2926278344" sldId="406"/>
            <ac:cxnSpMk id="12" creationId="{09C231E0-D778-F360-C8DD-DA58A0A28464}"/>
          </ac:cxnSpMkLst>
        </pc:cxnChg>
      </pc:sldChg>
      <pc:sldChg chg="modSp delCm">
        <pc:chgData name="Francisco Joao Correia Antelo" userId="705ee03e-8739-44a7-9631-d458549373b6" providerId="ADAL" clId="{5802E74D-A57C-40FA-AE09-EA4320EDB3BE}" dt="2023-12-03T17:17:27.129" v="1693"/>
        <pc:sldMkLst>
          <pc:docMk/>
          <pc:sldMk cId="3379930669" sldId="408"/>
        </pc:sldMkLst>
        <pc:graphicFrameChg chg="mod">
          <ac:chgData name="Francisco Joao Correia Antelo" userId="705ee03e-8739-44a7-9631-d458549373b6" providerId="ADAL" clId="{5802E74D-A57C-40FA-AE09-EA4320EDB3BE}" dt="2023-12-01T19:33:18.467" v="29" actId="313"/>
          <ac:graphicFrameMkLst>
            <pc:docMk/>
            <pc:sldMk cId="3379930669" sldId="408"/>
            <ac:graphicFrameMk id="5" creationId="{AD0E971A-8557-4A32-A366-1CA56DBC0090}"/>
          </ac:graphicFrameMkLst>
        </pc:graphicFrameChg>
      </pc:sldChg>
      <pc:sldChg chg="modSp delCm">
        <pc:chgData name="Francisco Joao Correia Antelo" userId="705ee03e-8739-44a7-9631-d458549373b6" providerId="ADAL" clId="{5802E74D-A57C-40FA-AE09-EA4320EDB3BE}" dt="2023-12-03T17:17:21.200" v="1691"/>
        <pc:sldMkLst>
          <pc:docMk/>
          <pc:sldMk cId="1558287448" sldId="409"/>
        </pc:sldMkLst>
        <pc:graphicFrameChg chg="mod">
          <ac:chgData name="Francisco Joao Correia Antelo" userId="705ee03e-8739-44a7-9631-d458549373b6" providerId="ADAL" clId="{5802E74D-A57C-40FA-AE09-EA4320EDB3BE}" dt="2023-12-01T19:34:55.206" v="34"/>
          <ac:graphicFrameMkLst>
            <pc:docMk/>
            <pc:sldMk cId="1558287448" sldId="409"/>
            <ac:graphicFrameMk id="5" creationId="{AD0E971A-8557-4A32-A366-1CA56DBC0090}"/>
          </ac:graphicFrameMkLst>
        </pc:graphicFrameChg>
      </pc:sldChg>
      <pc:sldChg chg="modSp delCm">
        <pc:chgData name="Francisco Joao Correia Antelo" userId="705ee03e-8739-44a7-9631-d458549373b6" providerId="ADAL" clId="{5802E74D-A57C-40FA-AE09-EA4320EDB3BE}" dt="2023-12-03T17:17:17.464" v="1690"/>
        <pc:sldMkLst>
          <pc:docMk/>
          <pc:sldMk cId="2783384388" sldId="411"/>
        </pc:sldMkLst>
        <pc:graphicFrameChg chg="mod">
          <ac:chgData name="Francisco Joao Correia Antelo" userId="705ee03e-8739-44a7-9631-d458549373b6" providerId="ADAL" clId="{5802E74D-A57C-40FA-AE09-EA4320EDB3BE}" dt="2023-12-01T19:36:46.286" v="45" actId="208"/>
          <ac:graphicFrameMkLst>
            <pc:docMk/>
            <pc:sldMk cId="2783384388" sldId="411"/>
            <ac:graphicFrameMk id="5" creationId="{AD0E971A-8557-4A32-A366-1CA56DBC0090}"/>
          </ac:graphicFrameMkLst>
        </pc:graphicFrameChg>
      </pc:sldChg>
      <pc:sldChg chg="modSp mod">
        <pc:chgData name="Francisco Joao Correia Antelo" userId="705ee03e-8739-44a7-9631-d458549373b6" providerId="ADAL" clId="{5802E74D-A57C-40FA-AE09-EA4320EDB3BE}" dt="2023-12-03T03:25:57.967" v="1405" actId="1035"/>
        <pc:sldMkLst>
          <pc:docMk/>
          <pc:sldMk cId="3533080913" sldId="412"/>
        </pc:sldMkLst>
        <pc:spChg chg="mod">
          <ac:chgData name="Francisco Joao Correia Antelo" userId="705ee03e-8739-44a7-9631-d458549373b6" providerId="ADAL" clId="{5802E74D-A57C-40FA-AE09-EA4320EDB3BE}" dt="2023-12-03T03:25:57.967" v="1405" actId="1035"/>
          <ac:spMkLst>
            <pc:docMk/>
            <pc:sldMk cId="3533080913" sldId="412"/>
            <ac:spMk id="8" creationId="{57F82214-0BF1-31AD-3ED7-EF8E2BEAC4C5}"/>
          </ac:spMkLst>
        </pc:spChg>
      </pc:sldChg>
      <pc:sldChg chg="modCm">
        <pc:chgData name="Francisco Joao Correia Antelo" userId="705ee03e-8739-44a7-9631-d458549373b6" providerId="ADAL" clId="{5802E74D-A57C-40FA-AE09-EA4320EDB3BE}" dt="2023-12-03T16:25:04.584" v="1673" actId="2056"/>
        <pc:sldMkLst>
          <pc:docMk/>
          <pc:sldMk cId="634489375" sldId="413"/>
        </pc:sldMkLst>
      </pc:sldChg>
      <pc:sldChg chg="addSp modSp new del">
        <pc:chgData name="Francisco Joao Correia Antelo" userId="705ee03e-8739-44a7-9631-d458549373b6" providerId="ADAL" clId="{5802E74D-A57C-40FA-AE09-EA4320EDB3BE}" dt="2023-12-02T20:19:55.690" v="1089" actId="2696"/>
        <pc:sldMkLst>
          <pc:docMk/>
          <pc:sldMk cId="2879206175" sldId="416"/>
        </pc:sldMkLst>
        <pc:spChg chg="add mod">
          <ac:chgData name="Francisco Joao Correia Antelo" userId="705ee03e-8739-44a7-9631-d458549373b6" providerId="ADAL" clId="{5802E74D-A57C-40FA-AE09-EA4320EDB3BE}" dt="2023-12-02T20:19:50.021" v="1087"/>
          <ac:spMkLst>
            <pc:docMk/>
            <pc:sldMk cId="2879206175" sldId="416"/>
            <ac:spMk id="3" creationId="{808A324C-8CCF-AFE8-7372-369109C24D59}"/>
          </ac:spMkLst>
        </pc:spChg>
        <pc:spChg chg="add mod">
          <ac:chgData name="Francisco Joao Correia Antelo" userId="705ee03e-8739-44a7-9631-d458549373b6" providerId="ADAL" clId="{5802E74D-A57C-40FA-AE09-EA4320EDB3BE}" dt="2023-12-02T20:19:51.912" v="1088"/>
          <ac:spMkLst>
            <pc:docMk/>
            <pc:sldMk cId="2879206175" sldId="416"/>
            <ac:spMk id="4" creationId="{030853F2-65EF-60A0-0015-90F4B600589C}"/>
          </ac:spMkLst>
        </pc:spChg>
      </pc:sldChg>
      <pc:sldChg chg="modSp mod">
        <pc:chgData name="Francisco Joao Correia Antelo" userId="705ee03e-8739-44a7-9631-d458549373b6" providerId="ADAL" clId="{5802E74D-A57C-40FA-AE09-EA4320EDB3BE}" dt="2023-12-03T16:16:28.172" v="1672" actId="14100"/>
        <pc:sldMkLst>
          <pc:docMk/>
          <pc:sldMk cId="2609227886" sldId="426"/>
        </pc:sldMkLst>
        <pc:picChg chg="mod ord modCrop">
          <ac:chgData name="Francisco Joao Correia Antelo" userId="705ee03e-8739-44a7-9631-d458549373b6" providerId="ADAL" clId="{5802E74D-A57C-40FA-AE09-EA4320EDB3BE}" dt="2023-12-03T16:16:28.172" v="1672" actId="14100"/>
          <ac:picMkLst>
            <pc:docMk/>
            <pc:sldMk cId="2609227886" sldId="426"/>
            <ac:picMk id="13" creationId="{9F828BE4-2F00-C08B-A50E-32D367EEF576}"/>
          </ac:picMkLst>
        </pc:picChg>
      </pc:sldChg>
    </pc:docChg>
  </pc:docChgLst>
  <pc:docChgLst>
    <pc:chgData name="Francisco Joao Correia Antelo" userId="S::20221624@novaims.unl.pt::705ee03e-8739-44a7-9631-d458549373b6" providerId="AD" clId="Web-{625D2BDC-072D-44CB-8B6D-D38399415E5F}"/>
    <pc:docChg chg="addSld modSld">
      <pc:chgData name="Francisco Joao Correia Antelo" userId="S::20221624@novaims.unl.pt::705ee03e-8739-44a7-9631-d458549373b6" providerId="AD" clId="Web-{625D2BDC-072D-44CB-8B6D-D38399415E5F}" dt="2023-12-01T13:36:38.942" v="852" actId="20577"/>
      <pc:docMkLst>
        <pc:docMk/>
      </pc:docMkLst>
      <pc:sldChg chg="addSp delSp modSp">
        <pc:chgData name="Francisco Joao Correia Antelo" userId="S::20221624@novaims.unl.pt::705ee03e-8739-44a7-9631-d458549373b6" providerId="AD" clId="Web-{625D2BDC-072D-44CB-8B6D-D38399415E5F}" dt="2023-12-01T13:36:38.942" v="852" actId="20577"/>
        <pc:sldMkLst>
          <pc:docMk/>
          <pc:sldMk cId="4222592916" sldId="265"/>
        </pc:sldMkLst>
        <pc:spChg chg="del mod">
          <ac:chgData name="Francisco Joao Correia Antelo" userId="S::20221624@novaims.unl.pt::705ee03e-8739-44a7-9631-d458549373b6" providerId="AD" clId="Web-{625D2BDC-072D-44CB-8B6D-D38399415E5F}" dt="2023-12-01T12:34:14.812" v="58"/>
          <ac:spMkLst>
            <pc:docMk/>
            <pc:sldMk cId="4222592916" sldId="265"/>
            <ac:spMk id="2" creationId="{0A6C936E-273E-7E97-5355-65326DC2B0D5}"/>
          </ac:spMkLst>
        </pc:spChg>
        <pc:spChg chg="add mod">
          <ac:chgData name="Francisco Joao Correia Antelo" userId="S::20221624@novaims.unl.pt::705ee03e-8739-44a7-9631-d458549373b6" providerId="AD" clId="Web-{625D2BDC-072D-44CB-8B6D-D38399415E5F}" dt="2023-12-01T13:22:15.184" v="683" actId="1076"/>
          <ac:spMkLst>
            <pc:docMk/>
            <pc:sldMk cId="4222592916" sldId="265"/>
            <ac:spMk id="2" creationId="{76E4AEB6-FDFD-F301-2398-87C7E73B46DA}"/>
          </ac:spMkLst>
        </pc:spChg>
        <pc:spChg chg="add mod">
          <ac:chgData name="Francisco Joao Correia Antelo" userId="S::20221624@novaims.unl.pt::705ee03e-8739-44a7-9631-d458549373b6" providerId="AD" clId="Web-{625D2BDC-072D-44CB-8B6D-D38399415E5F}" dt="2023-12-01T13:20:04.852" v="679" actId="1076"/>
          <ac:spMkLst>
            <pc:docMk/>
            <pc:sldMk cId="4222592916" sldId="265"/>
            <ac:spMk id="3" creationId="{75065607-11FF-27D8-42A1-AA3E7BE1BAF1}"/>
          </ac:spMkLst>
        </pc:spChg>
        <pc:spChg chg="add mod">
          <ac:chgData name="Francisco Joao Correia Antelo" userId="S::20221624@novaims.unl.pt::705ee03e-8739-44a7-9631-d458549373b6" providerId="AD" clId="Web-{625D2BDC-072D-44CB-8B6D-D38399415E5F}" dt="2023-12-01T13:16:48.924" v="632" actId="20577"/>
          <ac:spMkLst>
            <pc:docMk/>
            <pc:sldMk cId="4222592916" sldId="265"/>
            <ac:spMk id="5" creationId="{CBD3180A-8EEC-0027-1BFE-09D90202C372}"/>
          </ac:spMkLst>
        </pc:spChg>
        <pc:spChg chg="del mod">
          <ac:chgData name="Francisco Joao Correia Antelo" userId="S::20221624@novaims.unl.pt::705ee03e-8739-44a7-9631-d458549373b6" providerId="AD" clId="Web-{625D2BDC-072D-44CB-8B6D-D38399415E5F}" dt="2023-12-01T13:19:46.508" v="676"/>
          <ac:spMkLst>
            <pc:docMk/>
            <pc:sldMk cId="4222592916" sldId="265"/>
            <ac:spMk id="7" creationId="{3E143B21-FE8D-6477-51D0-10B5F3569BA8}"/>
          </ac:spMkLst>
        </pc:spChg>
        <pc:spChg chg="del mod">
          <ac:chgData name="Francisco Joao Correia Antelo" userId="S::20221624@novaims.unl.pt::705ee03e-8739-44a7-9631-d458549373b6" providerId="AD" clId="Web-{625D2BDC-072D-44CB-8B6D-D38399415E5F}" dt="2023-12-01T13:18:22.974" v="659"/>
          <ac:spMkLst>
            <pc:docMk/>
            <pc:sldMk cId="4222592916" sldId="265"/>
            <ac:spMk id="8" creationId="{928E9A28-4A62-E14B-70C8-9C2F8E91DB39}"/>
          </ac:spMkLst>
        </pc:spChg>
        <pc:spChg chg="del">
          <ac:chgData name="Francisco Joao Correia Antelo" userId="S::20221624@novaims.unl.pt::705ee03e-8739-44a7-9631-d458549373b6" providerId="AD" clId="Web-{625D2BDC-072D-44CB-8B6D-D38399415E5F}" dt="2023-12-01T12:41:08.625" v="225"/>
          <ac:spMkLst>
            <pc:docMk/>
            <pc:sldMk cId="4222592916" sldId="265"/>
            <ac:spMk id="9" creationId="{8CF7D65B-97DB-138F-B403-DB0491EFFB22}"/>
          </ac:spMkLst>
        </pc:spChg>
        <pc:spChg chg="add mod">
          <ac:chgData name="Francisco Joao Correia Antelo" userId="S::20221624@novaims.unl.pt::705ee03e-8739-44a7-9631-d458549373b6" providerId="AD" clId="Web-{625D2BDC-072D-44CB-8B6D-D38399415E5F}" dt="2023-12-01T13:19:54.273" v="677" actId="1076"/>
          <ac:spMkLst>
            <pc:docMk/>
            <pc:sldMk cId="4222592916" sldId="265"/>
            <ac:spMk id="9" creationId="{D3180CE3-34C3-C7BD-EFDC-7BB1408F9303}"/>
          </ac:spMkLst>
        </pc:spChg>
        <pc:spChg chg="del mod">
          <ac:chgData name="Francisco Joao Correia Antelo" userId="S::20221624@novaims.unl.pt::705ee03e-8739-44a7-9631-d458549373b6" providerId="AD" clId="Web-{625D2BDC-072D-44CB-8B6D-D38399415E5F}" dt="2023-12-01T13:22:21.403" v="685"/>
          <ac:spMkLst>
            <pc:docMk/>
            <pc:sldMk cId="4222592916" sldId="265"/>
            <ac:spMk id="10" creationId="{6A430E89-5959-B0F2-142B-EB5C4CC71CB8}"/>
          </ac:spMkLst>
        </pc:spChg>
        <pc:spChg chg="add mod">
          <ac:chgData name="Francisco Joao Correia Antelo" userId="S::20221624@novaims.unl.pt::705ee03e-8739-44a7-9631-d458549373b6" providerId="AD" clId="Web-{625D2BDC-072D-44CB-8B6D-D38399415E5F}" dt="2023-12-01T13:25:27.033" v="745" actId="1076"/>
          <ac:spMkLst>
            <pc:docMk/>
            <pc:sldMk cId="4222592916" sldId="265"/>
            <ac:spMk id="12" creationId="{BC571203-39E5-0663-8494-C641784E6F73}"/>
          </ac:spMkLst>
        </pc:spChg>
        <pc:spChg chg="add mod">
          <ac:chgData name="Francisco Joao Correia Antelo" userId="S::20221624@novaims.unl.pt::705ee03e-8739-44a7-9631-d458549373b6" providerId="AD" clId="Web-{625D2BDC-072D-44CB-8B6D-D38399415E5F}" dt="2023-12-01T13:36:38.942" v="852" actId="20577"/>
          <ac:spMkLst>
            <pc:docMk/>
            <pc:sldMk cId="4222592916" sldId="265"/>
            <ac:spMk id="14" creationId="{7084496D-5F9A-D4B2-3E99-347FA2B50A7A}"/>
          </ac:spMkLst>
        </pc:spChg>
        <pc:graphicFrameChg chg="add del mod modGraphic">
          <ac:chgData name="Francisco Joao Correia Antelo" userId="S::20221624@novaims.unl.pt::705ee03e-8739-44a7-9631-d458549373b6" providerId="AD" clId="Web-{625D2BDC-072D-44CB-8B6D-D38399415E5F}" dt="2023-12-01T13:23:51.468" v="687"/>
          <ac:graphicFrameMkLst>
            <pc:docMk/>
            <pc:sldMk cId="4222592916" sldId="265"/>
            <ac:graphicFrameMk id="6" creationId="{CF602156-9D64-C09D-844A-4EAA170EB39A}"/>
          </ac:graphicFrameMkLst>
        </pc:graphicFrameChg>
        <pc:graphicFrameChg chg="mod modGraphic">
          <ac:chgData name="Francisco Joao Correia Antelo" userId="S::20221624@novaims.unl.pt::705ee03e-8739-44a7-9631-d458549373b6" providerId="AD" clId="Web-{625D2BDC-072D-44CB-8B6D-D38399415E5F}" dt="2023-12-01T13:22:15.262" v="684" actId="1076"/>
          <ac:graphicFrameMkLst>
            <pc:docMk/>
            <pc:sldMk cId="4222592916" sldId="265"/>
            <ac:graphicFrameMk id="11" creationId="{EEFA177F-947E-B232-21E8-BC34E4DF3FC6}"/>
          </ac:graphicFrameMkLst>
        </pc:graphicFrameChg>
        <pc:picChg chg="add mod">
          <ac:chgData name="Francisco Joao Correia Antelo" userId="S::20221624@novaims.unl.pt::705ee03e-8739-44a7-9631-d458549373b6" providerId="AD" clId="Web-{625D2BDC-072D-44CB-8B6D-D38399415E5F}" dt="2023-12-01T13:24:52.297" v="713" actId="1076"/>
          <ac:picMkLst>
            <pc:docMk/>
            <pc:sldMk cId="4222592916" sldId="265"/>
            <ac:picMk id="13" creationId="{4D739419-3031-8497-E6A3-C6EC7328E78E}"/>
          </ac:picMkLst>
        </pc:picChg>
      </pc:sldChg>
      <pc:sldChg chg="addSp delSp modSp new">
        <pc:chgData name="Francisco Joao Correia Antelo" userId="S::20221624@novaims.unl.pt::705ee03e-8739-44a7-9631-d458549373b6" providerId="AD" clId="Web-{625D2BDC-072D-44CB-8B6D-D38399415E5F}" dt="2023-12-01T13:36:14.301" v="844" actId="20577"/>
        <pc:sldMkLst>
          <pc:docMk/>
          <pc:sldMk cId="1388663887" sldId="407"/>
        </pc:sldMkLst>
        <pc:spChg chg="del mod">
          <ac:chgData name="Francisco Joao Correia Antelo" userId="S::20221624@novaims.unl.pt::705ee03e-8739-44a7-9631-d458549373b6" providerId="AD" clId="Web-{625D2BDC-072D-44CB-8B6D-D38399415E5F}" dt="2023-12-01T12:31:37.603" v="31"/>
          <ac:spMkLst>
            <pc:docMk/>
            <pc:sldMk cId="1388663887" sldId="407"/>
            <ac:spMk id="2" creationId="{0A14F26E-D059-20F2-B125-CBB4E26F947B}"/>
          </ac:spMkLst>
        </pc:spChg>
        <pc:spChg chg="add mod">
          <ac:chgData name="Francisco Joao Correia Antelo" userId="S::20221624@novaims.unl.pt::705ee03e-8739-44a7-9631-d458549373b6" providerId="AD" clId="Web-{625D2BDC-072D-44CB-8B6D-D38399415E5F}" dt="2023-12-01T13:36:14.301" v="844" actId="20577"/>
          <ac:spMkLst>
            <pc:docMk/>
            <pc:sldMk cId="1388663887" sldId="407"/>
            <ac:spMk id="3" creationId="{98EA4056-DE24-2AE4-D369-2A4586722488}"/>
          </ac:spMkLst>
        </pc:spChg>
        <pc:spChg chg="add mod">
          <ac:chgData name="Francisco Joao Correia Antelo" userId="S::20221624@novaims.unl.pt::705ee03e-8739-44a7-9631-d458549373b6" providerId="AD" clId="Web-{625D2BDC-072D-44CB-8B6D-D38399415E5F}" dt="2023-12-01T12:31:18.415" v="30" actId="20577"/>
          <ac:spMkLst>
            <pc:docMk/>
            <pc:sldMk cId="1388663887" sldId="407"/>
            <ac:spMk id="4" creationId="{69623466-91AF-822C-7900-42D70C694D7E}"/>
          </ac:spMkLst>
        </pc:spChg>
        <pc:spChg chg="add mod">
          <ac:chgData name="Francisco Joao Correia Antelo" userId="S::20221624@novaims.unl.pt::705ee03e-8739-44a7-9631-d458549373b6" providerId="AD" clId="Web-{625D2BDC-072D-44CB-8B6D-D38399415E5F}" dt="2023-12-01T12:32:27.308" v="47" actId="14100"/>
          <ac:spMkLst>
            <pc:docMk/>
            <pc:sldMk cId="1388663887" sldId="407"/>
            <ac:spMk id="6" creationId="{79CA3511-C50B-4811-D22F-721555BD92E6}"/>
          </ac:spMkLst>
        </pc:spChg>
        <pc:spChg chg="add mod">
          <ac:chgData name="Francisco Joao Correia Antelo" userId="S::20221624@novaims.unl.pt::705ee03e-8739-44a7-9631-d458549373b6" providerId="AD" clId="Web-{625D2BDC-072D-44CB-8B6D-D38399415E5F}" dt="2023-12-01T13:10:55.664" v="589"/>
          <ac:spMkLst>
            <pc:docMk/>
            <pc:sldMk cId="1388663887" sldId="407"/>
            <ac:spMk id="7" creationId="{80E48CC2-03B3-97B4-77F5-08B0B7EC5839}"/>
          </ac:spMkLst>
        </pc:spChg>
        <pc:spChg chg="add mod">
          <ac:chgData name="Francisco Joao Correia Antelo" userId="S::20221624@novaims.unl.pt::705ee03e-8739-44a7-9631-d458549373b6" providerId="AD" clId="Web-{625D2BDC-072D-44CB-8B6D-D38399415E5F}" dt="2023-12-01T13:11:11.899" v="592"/>
          <ac:spMkLst>
            <pc:docMk/>
            <pc:sldMk cId="1388663887" sldId="407"/>
            <ac:spMk id="8" creationId="{57F82214-0BF1-31AD-3ED7-EF8E2BEAC4C5}"/>
          </ac:spMkLst>
        </pc:spChg>
        <pc:spChg chg="add mod">
          <ac:chgData name="Francisco Joao Correia Antelo" userId="S::20221624@novaims.unl.pt::705ee03e-8739-44a7-9631-d458549373b6" providerId="AD" clId="Web-{625D2BDC-072D-44CB-8B6D-D38399415E5F}" dt="2023-12-01T13:11:43.978" v="602" actId="20577"/>
          <ac:spMkLst>
            <pc:docMk/>
            <pc:sldMk cId="1388663887" sldId="407"/>
            <ac:spMk id="9" creationId="{7C30CBD1-319F-B9AD-1020-96449A7C787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93_19FEF26C.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193_19FEF26C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195_314575B.xlsx"/><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https://liveeduisegiunl-my.sharepoint.com/personal/20222167_novaims_unl_pt/Documents/PostGrad/2.Enterprise%20Data%20Science%20Bootcamp/HR%20dataset/HR_DS.xlsx" TargetMode="External"/><Relationship Id="rId2" Type="http://schemas.microsoft.com/office/2011/relationships/chartColorStyle" Target="colors7.xml"/><Relationship Id="rId1" Type="http://schemas.microsoft.com/office/2011/relationships/chartStyle" Target="style7.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195_314575B2.xlsx"/><Relationship Id="rId2" Type="http://schemas.microsoft.com/office/2011/relationships/chartColorStyle" Target="colors8.xml"/><Relationship Id="rId1" Type="http://schemas.microsoft.com/office/2011/relationships/chartStyle" Target="style8.xml"/></Relationships>
</file>

<file path=ppt/charts/_rels/chart7.xml.rels><?xml version="1.0" encoding="UTF-8" standalone="yes"?>
<Relationships xmlns="http://schemas.openxmlformats.org/package/2006/relationships"><Relationship Id="rId3" Type="http://schemas.openxmlformats.org/officeDocument/2006/relationships/oleObject" Target="https://liveeduisegiunl-my.sharepoint.com/personal/20222167_novaims_unl_pt/Documents/PostGrad/2.Enterprise%20Data%20Science%20Bootcamp/HR%20dataset/HR_DS.xlsx" TargetMode="External"/><Relationship Id="rId2" Type="http://schemas.microsoft.com/office/2011/relationships/chartColorStyle" Target="colors9.xml"/><Relationship Id="rId1" Type="http://schemas.microsoft.com/office/2011/relationships/chartStyle" Target="style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_196_AE6B76C8.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https://liveeduisegiunl-my.sharepoint.com/personal/20222167_novaims_unl_pt/Documents/PostGrad/2.Enterprise%20Data%20Science%20Bootcamp/HR%20dataset/HR_DS.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liveeduisegiunl-my.sharepoint.com/personal/20222167_novaims_unl_pt/Documents/PostGrad/2.Enterprise%20Data%20Science%20Bootcamp/HR%20dataset/HR_DS.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pt-PT" sz="1400" b="0" i="0" u="none" strike="noStrike" kern="1200" cap="none" spc="0" baseline="0" dirty="0" smtClean="0">
                <a:ln w="0"/>
                <a:solidFill>
                  <a:schemeClr val="tx1"/>
                </a:solidFill>
                <a:effectLst>
                  <a:outerShdw blurRad="38100" dist="19050" dir="2700000" algn="tl" rotWithShape="0">
                    <a:schemeClr val="dk1">
                      <a:alpha val="40000"/>
                    </a:schemeClr>
                  </a:outerShdw>
                </a:effectLst>
                <a:latin typeface="Tenorite" panose="00000500000000000000" pitchFamily="2" charset="0"/>
                <a:ea typeface="+mn-ea"/>
                <a:cs typeface="+mn-cs"/>
              </a:defRPr>
            </a:pPr>
            <a:r>
              <a:rPr lang="pt-PT" sz="1200" b="0" kern="1200" cap="none" spc="0">
                <a:ln w="0"/>
                <a:solidFill>
                  <a:schemeClr val="tx1"/>
                </a:solidFill>
                <a:effectLst/>
                <a:latin typeface="Tenorite" panose="00000500000000000000" pitchFamily="2" charset="0"/>
                <a:ea typeface="+mn-ea"/>
                <a:cs typeface="+mn-cs"/>
              </a:rPr>
              <a:t>Distribution of Attrition</a:t>
            </a:r>
          </a:p>
        </c:rich>
      </c:tx>
      <c:layout>
        <c:manualLayout>
          <c:xMode val="edge"/>
          <c:yMode val="edge"/>
          <c:x val="0.2267818067729544"/>
          <c:y val="3.27855648513962E-2"/>
        </c:manualLayout>
      </c:layout>
      <c:overlay val="0"/>
      <c:spPr>
        <a:noFill/>
        <a:ln>
          <a:noFill/>
        </a:ln>
        <a:effectLst/>
      </c:spPr>
      <c:txPr>
        <a:bodyPr rot="0" spcFirstLastPara="1" vertOverflow="ellipsis" vert="horz" wrap="square" anchor="ctr" anchorCtr="1"/>
        <a:lstStyle/>
        <a:p>
          <a:pPr>
            <a:defRPr lang="pt-PT" sz="1400" b="0" i="0" u="none" strike="noStrike" kern="1200" cap="none" spc="0" baseline="0" dirty="0" smtClean="0">
              <a:ln w="0"/>
              <a:solidFill>
                <a:schemeClr val="tx1"/>
              </a:solidFill>
              <a:effectLst>
                <a:outerShdw blurRad="38100" dist="19050" dir="2700000" algn="tl" rotWithShape="0">
                  <a:schemeClr val="dk1">
                    <a:alpha val="40000"/>
                  </a:schemeClr>
                </a:outerShdw>
              </a:effectLst>
              <a:latin typeface="Tenorite" panose="00000500000000000000" pitchFamily="2" charset="0"/>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Tenorite"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23:$D$24</c:f>
              <c:strCache>
                <c:ptCount val="2"/>
                <c:pt idx="0">
                  <c:v>No</c:v>
                </c:pt>
                <c:pt idx="1">
                  <c:v>Yes</c:v>
                </c:pt>
              </c:strCache>
            </c:strRef>
          </c:cat>
          <c:val>
            <c:numRef>
              <c:f>Sheet1!$E$23:$E$24</c:f>
              <c:numCache>
                <c:formatCode>General</c:formatCode>
                <c:ptCount val="2"/>
                <c:pt idx="0">
                  <c:v>1233</c:v>
                </c:pt>
                <c:pt idx="1">
                  <c:v>237</c:v>
                </c:pt>
              </c:numCache>
            </c:numRef>
          </c:val>
          <c:extLst>
            <c:ext xmlns:c16="http://schemas.microsoft.com/office/drawing/2014/chart" uri="{C3380CC4-5D6E-409C-BE32-E72D297353CC}">
              <c16:uniqueId val="{00000000-50F4-4803-902B-626CE28BFB8C}"/>
            </c:ext>
          </c:extLst>
        </c:ser>
        <c:dLbls>
          <c:showLegendKey val="0"/>
          <c:showVal val="1"/>
          <c:showCatName val="0"/>
          <c:showSerName val="0"/>
          <c:showPercent val="0"/>
          <c:showBubbleSize val="0"/>
        </c:dLbls>
        <c:gapWidth val="75"/>
        <c:axId val="826815600"/>
        <c:axId val="826817400"/>
      </c:barChart>
      <c:catAx>
        <c:axId val="826815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826817400"/>
        <c:crosses val="autoZero"/>
        <c:auto val="1"/>
        <c:lblAlgn val="ctr"/>
        <c:lblOffset val="100"/>
        <c:noMultiLvlLbl val="0"/>
      </c:catAx>
      <c:valAx>
        <c:axId val="826817400"/>
        <c:scaling>
          <c:orientation val="minMax"/>
        </c:scaling>
        <c:delete val="1"/>
        <c:axPos val="l"/>
        <c:numFmt formatCode="General" sourceLinked="1"/>
        <c:majorTickMark val="none"/>
        <c:minorTickMark val="none"/>
        <c:tickLblPos val="nextTo"/>
        <c:crossAx val="826815600"/>
        <c:crosses val="autoZero"/>
        <c:crossBetween val="between"/>
      </c:valAx>
      <c:spPr>
        <a:noFill/>
        <a:ln>
          <a:noFill/>
        </a:ln>
        <a:effectLst/>
      </c:spPr>
    </c:plotArea>
    <c:plotVisOnly val="1"/>
    <c:dispBlanksAs val="gap"/>
    <c:showDLblsOverMax val="0"/>
  </c:chart>
  <c:spPr>
    <a:solidFill>
      <a:schemeClr val="bg1"/>
    </a:solidFill>
    <a:ln>
      <a:solidFill>
        <a:schemeClr val="bg1">
          <a:lumMod val="95000"/>
        </a:schemeClr>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pt-PT" sz="1400" b="0" i="0" u="none" strike="noStrike" kern="1200" cap="none" spc="0" baseline="0" dirty="0">
                <a:ln w="0"/>
                <a:solidFill>
                  <a:schemeClr val="tx1"/>
                </a:solidFill>
                <a:effectLst>
                  <a:outerShdw blurRad="38100" dist="19050" dir="2700000" algn="tl" rotWithShape="0">
                    <a:schemeClr val="dk1">
                      <a:alpha val="40000"/>
                    </a:schemeClr>
                  </a:outerShdw>
                </a:effectLst>
                <a:latin typeface="Tenorite" panose="00000500000000000000" pitchFamily="2" charset="0"/>
                <a:ea typeface="+mn-ea"/>
                <a:cs typeface="+mn-cs"/>
              </a:defRPr>
            </a:pPr>
            <a:r>
              <a:rPr lang="pt-PT" sz="1200" b="0" i="0" u="none" strike="noStrike" kern="1200" cap="none" spc="0" baseline="0">
                <a:ln w="0"/>
                <a:solidFill>
                  <a:schemeClr val="tx1"/>
                </a:solidFill>
                <a:effectLst/>
                <a:latin typeface="Tenorite" panose="00000500000000000000" pitchFamily="2" charset="0"/>
                <a:ea typeface="+mn-ea"/>
                <a:cs typeface="+mn-cs"/>
              </a:rPr>
              <a:t>Percentage of employees who left within the first 5 years</a:t>
            </a:r>
          </a:p>
        </c:rich>
      </c:tx>
      <c:layout>
        <c:manualLayout>
          <c:xMode val="edge"/>
          <c:yMode val="edge"/>
          <c:x val="0.15790648050864897"/>
          <c:y val="0"/>
        </c:manualLayout>
      </c:layout>
      <c:overlay val="0"/>
      <c:spPr>
        <a:noFill/>
        <a:ln>
          <a:noFill/>
        </a:ln>
        <a:effectLst/>
      </c:spPr>
      <c:txPr>
        <a:bodyPr rot="0" spcFirstLastPara="1" vertOverflow="ellipsis" vert="horz" wrap="square" anchor="ctr" anchorCtr="1"/>
        <a:lstStyle/>
        <a:p>
          <a:pPr>
            <a:defRPr lang="pt-PT" sz="1400" b="0" i="0" u="none" strike="noStrike" kern="1200" cap="none" spc="0" baseline="0" dirty="0">
              <a:ln w="0"/>
              <a:solidFill>
                <a:schemeClr val="tx1"/>
              </a:solidFill>
              <a:effectLst>
                <a:outerShdw blurRad="38100" dist="19050" dir="2700000" algn="tl" rotWithShape="0">
                  <a:schemeClr val="dk1">
                    <a:alpha val="40000"/>
                  </a:schemeClr>
                </a:outerShdw>
              </a:effectLst>
              <a:latin typeface="Tenorite" panose="00000500000000000000" pitchFamily="2" charset="0"/>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Tenorite"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B$6</c:f>
              <c:numCache>
                <c:formatCode>General</c:formatCode>
                <c:ptCount val="5"/>
                <c:pt idx="0">
                  <c:v>0</c:v>
                </c:pt>
                <c:pt idx="1">
                  <c:v>1</c:v>
                </c:pt>
                <c:pt idx="2">
                  <c:v>2</c:v>
                </c:pt>
                <c:pt idx="3">
                  <c:v>3</c:v>
                </c:pt>
                <c:pt idx="4">
                  <c:v>4</c:v>
                </c:pt>
              </c:numCache>
            </c:numRef>
          </c:cat>
          <c:val>
            <c:numRef>
              <c:f>Sheet1!$C$2:$C$6</c:f>
              <c:numCache>
                <c:formatCode>0.00%</c:formatCode>
                <c:ptCount val="5"/>
                <c:pt idx="0">
                  <c:v>6.8000000000000005E-2</c:v>
                </c:pt>
                <c:pt idx="1">
                  <c:v>0.249</c:v>
                </c:pt>
                <c:pt idx="2">
                  <c:v>0.114</c:v>
                </c:pt>
                <c:pt idx="3">
                  <c:v>8.4000000000000005E-2</c:v>
                </c:pt>
                <c:pt idx="4" formatCode="0%">
                  <c:v>0.08</c:v>
                </c:pt>
              </c:numCache>
            </c:numRef>
          </c:val>
          <c:extLst>
            <c:ext xmlns:c16="http://schemas.microsoft.com/office/drawing/2014/chart" uri="{C3380CC4-5D6E-409C-BE32-E72D297353CC}">
              <c16:uniqueId val="{00000000-C4FA-41BB-8B22-3863A70AA829}"/>
            </c:ext>
          </c:extLst>
        </c:ser>
        <c:dLbls>
          <c:showLegendKey val="0"/>
          <c:showVal val="1"/>
          <c:showCatName val="0"/>
          <c:showSerName val="0"/>
          <c:showPercent val="0"/>
          <c:showBubbleSize val="0"/>
        </c:dLbls>
        <c:gapWidth val="75"/>
        <c:axId val="869216552"/>
        <c:axId val="869217632"/>
      </c:barChart>
      <c:catAx>
        <c:axId val="869216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869217632"/>
        <c:crosses val="autoZero"/>
        <c:auto val="1"/>
        <c:lblAlgn val="ctr"/>
        <c:lblOffset val="100"/>
        <c:noMultiLvlLbl val="0"/>
      </c:catAx>
      <c:valAx>
        <c:axId val="869217632"/>
        <c:scaling>
          <c:orientation val="minMax"/>
          <c:max val="0.3000000000000000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869216552"/>
        <c:crosses val="autoZero"/>
        <c:crossBetween val="between"/>
      </c:valAx>
      <c:spPr>
        <a:noFill/>
        <a:ln>
          <a:noFill/>
        </a:ln>
        <a:effectLst/>
      </c:spPr>
    </c:plotArea>
    <c:plotVisOnly val="1"/>
    <c:dispBlanksAs val="gap"/>
    <c:showDLblsOverMax val="0"/>
  </c:chart>
  <c:spPr>
    <a:solidFill>
      <a:schemeClr val="bg1"/>
    </a:solidFill>
    <a:ln>
      <a:solidFill>
        <a:schemeClr val="bg1">
          <a:lumMod val="95000"/>
        </a:schemeClr>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pivotSource>
    <c:name>[HR_DS.xlsx]Suggestion4!PivotTable4</c:name>
    <c:fmtId val="-1"/>
  </c:pivotSource>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Tenorite" panose="00000500000000000000" pitchFamily="2" charset="0"/>
                <a:ea typeface="+mn-ea"/>
                <a:cs typeface="+mn-cs"/>
              </a:defRPr>
            </a:pPr>
            <a:r>
              <a:rPr lang="en-US" sz="1200">
                <a:effectLst/>
                <a:latin typeface="Tenorite" panose="00000500000000000000" pitchFamily="2" charset="0"/>
              </a:rPr>
              <a:t>Marital Status</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Tenorite" panose="00000500000000000000" pitchFamily="2" charset="0"/>
              <a:ea typeface="+mn-ea"/>
              <a:cs typeface="+mn-cs"/>
            </a:defRPr>
          </a:pPr>
          <a:endParaRPr lang="en-US"/>
        </a:p>
      </c:txPr>
    </c:title>
    <c:autoTitleDeleted val="0"/>
    <c:pivotFmts>
      <c:pivotFmt>
        <c:idx val="0"/>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4"/>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8.2069564936959924E-2"/>
          <c:y val="0.30313927462851098"/>
          <c:w val="0.86125016559542111"/>
          <c:h val="0.68472657054851016"/>
        </c:manualLayout>
      </c:layout>
      <c:barChart>
        <c:barDir val="col"/>
        <c:grouping val="clustered"/>
        <c:varyColors val="0"/>
        <c:ser>
          <c:idx val="0"/>
          <c:order val="0"/>
          <c:tx>
            <c:strRef>
              <c:f>Suggestion4!$D$4</c:f>
              <c:strCache>
                <c:ptCount val="1"/>
                <c:pt idx="0">
                  <c:v>Total</c:v>
                </c:pt>
              </c:strCache>
            </c:strRef>
          </c:tx>
          <c:spPr>
            <a:solidFill>
              <a:srgbClr val="3B9EB1"/>
            </a:solidFill>
            <a:ln>
              <a:noFill/>
            </a:ln>
            <a:effectLst/>
          </c:spPr>
          <c:invertIfNegative val="0"/>
          <c:dPt>
            <c:idx val="0"/>
            <c:invertIfNegative val="0"/>
            <c:bubble3D val="0"/>
            <c:spPr>
              <a:solidFill>
                <a:srgbClr val="3B9EB1"/>
              </a:solidFill>
              <a:ln>
                <a:noFill/>
              </a:ln>
              <a:effectLst/>
            </c:spPr>
            <c:extLst>
              <c:ext xmlns:c16="http://schemas.microsoft.com/office/drawing/2014/chart" uri="{C3380CC4-5D6E-409C-BE32-E72D297353CC}">
                <c16:uniqueId val="{00000001-AEF3-475E-ACCD-6F343A3001EE}"/>
              </c:ext>
            </c:extLst>
          </c:dPt>
          <c:dPt>
            <c:idx val="1"/>
            <c:invertIfNegative val="0"/>
            <c:bubble3D val="0"/>
            <c:spPr>
              <a:solidFill>
                <a:srgbClr val="3B9EB1"/>
              </a:solidFill>
              <a:ln>
                <a:noFill/>
              </a:ln>
              <a:effectLst/>
            </c:spPr>
            <c:extLst>
              <c:ext xmlns:c16="http://schemas.microsoft.com/office/drawing/2014/chart" uri="{C3380CC4-5D6E-409C-BE32-E72D297353CC}">
                <c16:uniqueId val="{00000003-AEF3-475E-ACCD-6F343A3001EE}"/>
              </c:ext>
            </c:extLst>
          </c:dPt>
          <c:dPt>
            <c:idx val="2"/>
            <c:invertIfNegative val="0"/>
            <c:bubble3D val="0"/>
            <c:spPr>
              <a:solidFill>
                <a:srgbClr val="3B9EB1"/>
              </a:solidFill>
              <a:ln>
                <a:noFill/>
              </a:ln>
              <a:effectLst/>
            </c:spPr>
            <c:extLst>
              <c:ext xmlns:c16="http://schemas.microsoft.com/office/drawing/2014/chart" uri="{C3380CC4-5D6E-409C-BE32-E72D297353CC}">
                <c16:uniqueId val="{00000005-AEF3-475E-ACCD-6F343A3001EE}"/>
              </c:ext>
            </c:extLst>
          </c:dPt>
          <c:dLbls>
            <c:numFmt formatCode="0%" sourceLinked="0"/>
            <c:spPr>
              <a:noFill/>
              <a:ln>
                <a:no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chemeClr val="dk1">
                        <a:lumMod val="65000"/>
                        <a:lumOff val="35000"/>
                      </a:schemeClr>
                    </a:solidFill>
                    <a:latin typeface="Tenorite"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uggestion4!$C$5:$C$8</c:f>
              <c:strCache>
                <c:ptCount val="3"/>
                <c:pt idx="0">
                  <c:v>Married</c:v>
                </c:pt>
                <c:pt idx="1">
                  <c:v>Single</c:v>
                </c:pt>
                <c:pt idx="2">
                  <c:v>Divorced</c:v>
                </c:pt>
              </c:strCache>
            </c:strRef>
          </c:cat>
          <c:val>
            <c:numRef>
              <c:f>Suggestion4!$D$5:$D$8</c:f>
              <c:numCache>
                <c:formatCode>0.00%</c:formatCode>
                <c:ptCount val="3"/>
                <c:pt idx="0">
                  <c:v>0.45782312925170066</c:v>
                </c:pt>
                <c:pt idx="1">
                  <c:v>0.31972789115646261</c:v>
                </c:pt>
                <c:pt idx="2">
                  <c:v>0.22244897959183674</c:v>
                </c:pt>
              </c:numCache>
            </c:numRef>
          </c:val>
          <c:extLst>
            <c:ext xmlns:c16="http://schemas.microsoft.com/office/drawing/2014/chart" uri="{C3380CC4-5D6E-409C-BE32-E72D297353CC}">
              <c16:uniqueId val="{00000006-AEF3-475E-ACCD-6F343A3001EE}"/>
            </c:ext>
          </c:extLst>
        </c:ser>
        <c:dLbls>
          <c:showLegendKey val="0"/>
          <c:showVal val="0"/>
          <c:showCatName val="0"/>
          <c:showSerName val="0"/>
          <c:showPercent val="0"/>
          <c:showBubbleSize val="0"/>
        </c:dLbls>
        <c:gapWidth val="100"/>
        <c:axId val="994728840"/>
        <c:axId val="994728480"/>
      </c:barChart>
      <c:catAx>
        <c:axId val="99472884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994728480"/>
        <c:crosses val="autoZero"/>
        <c:auto val="1"/>
        <c:lblAlgn val="ctr"/>
        <c:lblOffset val="100"/>
        <c:noMultiLvlLbl val="0"/>
      </c:catAx>
      <c:valAx>
        <c:axId val="994728480"/>
        <c:scaling>
          <c:orientation val="minMax"/>
        </c:scaling>
        <c:delete val="1"/>
        <c:axPos val="l"/>
        <c:numFmt formatCode="0%" sourceLinked="0"/>
        <c:majorTickMark val="out"/>
        <c:minorTickMark val="none"/>
        <c:tickLblPos val="nextTo"/>
        <c:crossAx val="994728840"/>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95000"/>
        </a:schemeClr>
      </a:solid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r>
              <a:rPr lang="pt-PT" sz="1200"/>
              <a:t>Business Trave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endParaRPr lang="en-US"/>
        </a:p>
      </c:txPr>
    </c:title>
    <c:autoTitleDeleted val="0"/>
    <c:plotArea>
      <c:layout/>
      <c:barChart>
        <c:barDir val="col"/>
        <c:grouping val="clustered"/>
        <c:varyColors val="0"/>
        <c:ser>
          <c:idx val="0"/>
          <c:order val="0"/>
          <c:spPr>
            <a:solidFill>
              <a:schemeClr val="accent1"/>
            </a:solidFill>
            <a:ln w="19050">
              <a:noFill/>
            </a:ln>
            <a:effectLst/>
          </c:spPr>
          <c:invertIfNegative val="0"/>
          <c:dPt>
            <c:idx val="0"/>
            <c:invertIfNegative val="0"/>
            <c:bubble3D val="0"/>
            <c:spPr>
              <a:solidFill>
                <a:schemeClr val="accent1"/>
              </a:solidFill>
              <a:ln w="19050">
                <a:noFill/>
              </a:ln>
              <a:effectLst/>
            </c:spPr>
            <c:extLst>
              <c:ext xmlns:c16="http://schemas.microsoft.com/office/drawing/2014/chart" uri="{C3380CC4-5D6E-409C-BE32-E72D297353CC}">
                <c16:uniqueId val="{00000001-0671-4A5B-A710-03B0231DF760}"/>
              </c:ext>
            </c:extLst>
          </c:dPt>
          <c:dPt>
            <c:idx val="1"/>
            <c:invertIfNegative val="0"/>
            <c:bubble3D val="0"/>
            <c:spPr>
              <a:solidFill>
                <a:schemeClr val="accent1"/>
              </a:solidFill>
              <a:ln w="19050">
                <a:noFill/>
              </a:ln>
              <a:effectLst/>
            </c:spPr>
            <c:extLst>
              <c:ext xmlns:c16="http://schemas.microsoft.com/office/drawing/2014/chart" uri="{C3380CC4-5D6E-409C-BE32-E72D297353CC}">
                <c16:uniqueId val="{00000003-0671-4A5B-A710-03B0231DF760}"/>
              </c:ext>
            </c:extLst>
          </c:dPt>
          <c:dPt>
            <c:idx val="2"/>
            <c:invertIfNegative val="0"/>
            <c:bubble3D val="0"/>
            <c:spPr>
              <a:solidFill>
                <a:schemeClr val="accent1"/>
              </a:solidFill>
              <a:ln w="19050">
                <a:noFill/>
              </a:ln>
              <a:effectLst/>
            </c:spPr>
            <c:extLst>
              <c:ext xmlns:c16="http://schemas.microsoft.com/office/drawing/2014/chart" uri="{C3380CC4-5D6E-409C-BE32-E72D297353CC}">
                <c16:uniqueId val="{00000005-0671-4A5B-A710-03B0231DF760}"/>
              </c:ext>
            </c:extLst>
          </c:dPt>
          <c:dLbls>
            <c:spPr>
              <a:noFill/>
              <a:ln>
                <a:no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Tenorite"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Suggestion9!$F$15:$F$17</c:f>
              <c:strCache>
                <c:ptCount val="3"/>
                <c:pt idx="0">
                  <c:v>Travel Rarely</c:v>
                </c:pt>
                <c:pt idx="1">
                  <c:v>Travel Frequently</c:v>
                </c:pt>
                <c:pt idx="2">
                  <c:v>Non-Travel</c:v>
                </c:pt>
              </c:strCache>
            </c:strRef>
          </c:cat>
          <c:val>
            <c:numRef>
              <c:f>Suggestion9!$G$15:$G$17</c:f>
              <c:numCache>
                <c:formatCode>0%</c:formatCode>
                <c:ptCount val="3"/>
                <c:pt idx="0">
                  <c:v>0.70952380952380956</c:v>
                </c:pt>
                <c:pt idx="1">
                  <c:v>0.18843537414965986</c:v>
                </c:pt>
                <c:pt idx="2">
                  <c:v>0.10204081632653061</c:v>
                </c:pt>
              </c:numCache>
            </c:numRef>
          </c:val>
          <c:extLst>
            <c:ext xmlns:c16="http://schemas.microsoft.com/office/drawing/2014/chart" uri="{C3380CC4-5D6E-409C-BE32-E72D297353CC}">
              <c16:uniqueId val="{00000006-0671-4A5B-A710-03B0231DF760}"/>
            </c:ext>
          </c:extLst>
        </c:ser>
        <c:dLbls>
          <c:showLegendKey val="0"/>
          <c:showVal val="0"/>
          <c:showCatName val="0"/>
          <c:showSerName val="0"/>
          <c:showPercent val="0"/>
          <c:showBubbleSize val="0"/>
        </c:dLbls>
        <c:gapWidth val="100"/>
        <c:axId val="1094862656"/>
        <c:axId val="1094863016"/>
      </c:barChart>
      <c:catAx>
        <c:axId val="10948626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1094863016"/>
        <c:crosses val="autoZero"/>
        <c:auto val="1"/>
        <c:lblAlgn val="ctr"/>
        <c:lblOffset val="100"/>
        <c:noMultiLvlLbl val="0"/>
      </c:catAx>
      <c:valAx>
        <c:axId val="1094863016"/>
        <c:scaling>
          <c:orientation val="minMax"/>
        </c:scaling>
        <c:delete val="1"/>
        <c:axPos val="l"/>
        <c:numFmt formatCode="0%" sourceLinked="1"/>
        <c:majorTickMark val="out"/>
        <c:minorTickMark val="none"/>
        <c:tickLblPos val="nextTo"/>
        <c:crossAx val="1094862656"/>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95000"/>
        </a:schemeClr>
      </a:solidFill>
    </a:ln>
    <a:effectLst/>
  </c:spPr>
  <c:txPr>
    <a:bodyPr/>
    <a:lstStyle/>
    <a:p>
      <a:pPr>
        <a:defRPr>
          <a:latin typeface="Tenorite" panose="00000500000000000000" pitchFamily="2"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r>
              <a:rPr lang="pt-PT" sz="1200"/>
              <a:t>Overti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endParaRPr lang="en-US"/>
        </a:p>
      </c:txPr>
    </c:title>
    <c:autoTitleDeleted val="0"/>
    <c:plotArea>
      <c:layout>
        <c:manualLayout>
          <c:layoutTarget val="inner"/>
          <c:xMode val="edge"/>
          <c:yMode val="edge"/>
          <c:x val="8.8149210563513242E-2"/>
          <c:y val="0.25394561613948263"/>
          <c:w val="0.87732869677988201"/>
          <c:h val="0.6360997509688916"/>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Tenorite" panose="00000500000000000000"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ggestion8!$A$22:$A$23</c:f>
              <c:strCache>
                <c:ptCount val="2"/>
                <c:pt idx="0">
                  <c:v>No</c:v>
                </c:pt>
                <c:pt idx="1">
                  <c:v>Yes</c:v>
                </c:pt>
              </c:strCache>
            </c:strRef>
          </c:cat>
          <c:val>
            <c:numRef>
              <c:f>Suggestion8!$B$22:$B$23</c:f>
              <c:numCache>
                <c:formatCode>0.0%</c:formatCode>
                <c:ptCount val="2"/>
                <c:pt idx="0">
                  <c:v>0.71700680272108841</c:v>
                </c:pt>
                <c:pt idx="1">
                  <c:v>0.28299319727891159</c:v>
                </c:pt>
              </c:numCache>
            </c:numRef>
          </c:val>
          <c:extLst>
            <c:ext xmlns:c16="http://schemas.microsoft.com/office/drawing/2014/chart" uri="{C3380CC4-5D6E-409C-BE32-E72D297353CC}">
              <c16:uniqueId val="{00000000-0FEF-44A0-B2BA-2B09A75FC045}"/>
            </c:ext>
          </c:extLst>
        </c:ser>
        <c:dLbls>
          <c:showLegendKey val="0"/>
          <c:showVal val="0"/>
          <c:showCatName val="0"/>
          <c:showSerName val="0"/>
          <c:showPercent val="0"/>
          <c:showBubbleSize val="0"/>
        </c:dLbls>
        <c:gapWidth val="80"/>
        <c:axId val="23462039"/>
        <c:axId val="23455919"/>
      </c:barChart>
      <c:catAx>
        <c:axId val="234620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23455919"/>
        <c:crosses val="autoZero"/>
        <c:auto val="1"/>
        <c:lblAlgn val="ctr"/>
        <c:lblOffset val="100"/>
        <c:noMultiLvlLbl val="0"/>
      </c:catAx>
      <c:valAx>
        <c:axId val="23455919"/>
        <c:scaling>
          <c:orientation val="minMax"/>
        </c:scaling>
        <c:delete val="1"/>
        <c:axPos val="b"/>
        <c:numFmt formatCode="0.0%" sourceLinked="1"/>
        <c:majorTickMark val="none"/>
        <c:minorTickMark val="none"/>
        <c:tickLblPos val="nextTo"/>
        <c:crossAx val="23462039"/>
        <c:crosses val="autoZero"/>
        <c:crossBetween val="between"/>
      </c:valAx>
      <c:spPr>
        <a:noFill/>
        <a:ln>
          <a:noFill/>
        </a:ln>
        <a:effectLst/>
      </c:spPr>
    </c:plotArea>
    <c:plotVisOnly val="1"/>
    <c:dispBlanksAs val="gap"/>
    <c:showDLblsOverMax val="0"/>
  </c:chart>
  <c:spPr>
    <a:noFill/>
    <a:ln>
      <a:solidFill>
        <a:schemeClr val="bg1">
          <a:lumMod val="95000"/>
        </a:schemeClr>
      </a:solidFill>
    </a:ln>
    <a:effectLst/>
  </c:spPr>
  <c:txPr>
    <a:bodyPr/>
    <a:lstStyle/>
    <a:p>
      <a:pPr>
        <a:defRPr>
          <a:latin typeface="Tenorite" panose="00000500000000000000"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r>
              <a:rPr lang="pt-PT" sz="1200"/>
              <a:t>Work-life Bal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enorite" panose="00000500000000000000"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ggestion7!$A$20:$A$23</c:f>
              <c:strCache>
                <c:ptCount val="4"/>
                <c:pt idx="0">
                  <c:v>Poor</c:v>
                </c:pt>
                <c:pt idx="1">
                  <c:v>Average</c:v>
                </c:pt>
                <c:pt idx="2">
                  <c:v>Good</c:v>
                </c:pt>
                <c:pt idx="3">
                  <c:v>Excellent</c:v>
                </c:pt>
              </c:strCache>
            </c:strRef>
          </c:cat>
          <c:val>
            <c:numRef>
              <c:f>Suggestion7!$B$20:$B$23</c:f>
              <c:numCache>
                <c:formatCode>0%</c:formatCode>
                <c:ptCount val="4"/>
                <c:pt idx="0">
                  <c:v>5.4421768707482991E-2</c:v>
                </c:pt>
                <c:pt idx="1">
                  <c:v>0.23401360544217686</c:v>
                </c:pt>
                <c:pt idx="2">
                  <c:v>0.60748299319727894</c:v>
                </c:pt>
                <c:pt idx="3">
                  <c:v>0.10408163265306122</c:v>
                </c:pt>
              </c:numCache>
            </c:numRef>
          </c:val>
          <c:extLst>
            <c:ext xmlns:c16="http://schemas.microsoft.com/office/drawing/2014/chart" uri="{C3380CC4-5D6E-409C-BE32-E72D297353CC}">
              <c16:uniqueId val="{00000000-BD49-42CC-BC33-895AE9E9AFF9}"/>
            </c:ext>
          </c:extLst>
        </c:ser>
        <c:dLbls>
          <c:showLegendKey val="0"/>
          <c:showVal val="0"/>
          <c:showCatName val="0"/>
          <c:showSerName val="0"/>
          <c:showPercent val="0"/>
          <c:showBubbleSize val="0"/>
        </c:dLbls>
        <c:gapWidth val="80"/>
        <c:overlap val="-27"/>
        <c:axId val="91938807"/>
        <c:axId val="91944567"/>
      </c:barChart>
      <c:catAx>
        <c:axId val="91938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91944567"/>
        <c:crosses val="autoZero"/>
        <c:auto val="1"/>
        <c:lblAlgn val="ctr"/>
        <c:lblOffset val="100"/>
        <c:noMultiLvlLbl val="0"/>
      </c:catAx>
      <c:valAx>
        <c:axId val="91944567"/>
        <c:scaling>
          <c:orientation val="minMax"/>
        </c:scaling>
        <c:delete val="1"/>
        <c:axPos val="l"/>
        <c:numFmt formatCode="0%" sourceLinked="1"/>
        <c:majorTickMark val="none"/>
        <c:minorTickMark val="none"/>
        <c:tickLblPos val="nextTo"/>
        <c:crossAx val="91938807"/>
        <c:crosses val="autoZero"/>
        <c:crossBetween val="between"/>
      </c:valAx>
      <c:spPr>
        <a:noFill/>
        <a:ln>
          <a:noFill/>
        </a:ln>
        <a:effectLst/>
      </c:spPr>
    </c:plotArea>
    <c:plotVisOnly val="1"/>
    <c:dispBlanksAs val="gap"/>
    <c:showDLblsOverMax val="0"/>
  </c:chart>
  <c:spPr>
    <a:noFill/>
    <a:ln>
      <a:solidFill>
        <a:schemeClr val="bg1">
          <a:lumMod val="95000"/>
        </a:schemeClr>
      </a:solidFill>
    </a:ln>
    <a:effectLst/>
  </c:spPr>
  <c:txPr>
    <a:bodyPr/>
    <a:lstStyle/>
    <a:p>
      <a:pPr>
        <a:defRPr>
          <a:latin typeface="Tenorite" panose="00000500000000000000" pitchFamily="2"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r>
              <a:rPr lang="pt-PT" sz="1200"/>
              <a:t>Job involmen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enorite" panose="00000500000000000000"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ggestion15!$A$19:$A$22</c:f>
              <c:strCache>
                <c:ptCount val="4"/>
                <c:pt idx="0">
                  <c:v>Low</c:v>
                </c:pt>
                <c:pt idx="1">
                  <c:v>Medium</c:v>
                </c:pt>
                <c:pt idx="2">
                  <c:v>High</c:v>
                </c:pt>
                <c:pt idx="3">
                  <c:v>Very High</c:v>
                </c:pt>
              </c:strCache>
            </c:strRef>
          </c:cat>
          <c:val>
            <c:numRef>
              <c:f>Suggestion15!$B$19:$B$22</c:f>
              <c:numCache>
                <c:formatCode>0%</c:formatCode>
                <c:ptCount val="4"/>
                <c:pt idx="0">
                  <c:v>5.6462585034013607E-2</c:v>
                </c:pt>
                <c:pt idx="1">
                  <c:v>0.25510204081632654</c:v>
                </c:pt>
                <c:pt idx="2">
                  <c:v>0.59047619047619049</c:v>
                </c:pt>
                <c:pt idx="3">
                  <c:v>9.7959183673469383E-2</c:v>
                </c:pt>
              </c:numCache>
            </c:numRef>
          </c:val>
          <c:extLst>
            <c:ext xmlns:c16="http://schemas.microsoft.com/office/drawing/2014/chart" uri="{C3380CC4-5D6E-409C-BE32-E72D297353CC}">
              <c16:uniqueId val="{00000000-E48A-4CEC-9A70-9447950DBD6F}"/>
            </c:ext>
          </c:extLst>
        </c:ser>
        <c:dLbls>
          <c:dLblPos val="outEnd"/>
          <c:showLegendKey val="0"/>
          <c:showVal val="1"/>
          <c:showCatName val="0"/>
          <c:showSerName val="0"/>
          <c:showPercent val="0"/>
          <c:showBubbleSize val="0"/>
        </c:dLbls>
        <c:gapWidth val="80"/>
        <c:overlap val="-27"/>
        <c:axId val="1075302920"/>
        <c:axId val="1075303280"/>
      </c:barChart>
      <c:catAx>
        <c:axId val="1075302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1075303280"/>
        <c:crosses val="autoZero"/>
        <c:auto val="1"/>
        <c:lblAlgn val="ctr"/>
        <c:lblOffset val="100"/>
        <c:noMultiLvlLbl val="0"/>
      </c:catAx>
      <c:valAx>
        <c:axId val="1075303280"/>
        <c:scaling>
          <c:orientation val="minMax"/>
          <c:max val="0.60000000000000009"/>
        </c:scaling>
        <c:delete val="1"/>
        <c:axPos val="l"/>
        <c:numFmt formatCode="0%" sourceLinked="1"/>
        <c:majorTickMark val="none"/>
        <c:minorTickMark val="none"/>
        <c:tickLblPos val="nextTo"/>
        <c:crossAx val="1075302920"/>
        <c:crosses val="autoZero"/>
        <c:crossBetween val="between"/>
        <c:majorUnit val="0.2"/>
      </c:valAx>
      <c:spPr>
        <a:noFill/>
        <a:ln>
          <a:noFill/>
        </a:ln>
        <a:effectLst/>
      </c:spPr>
    </c:plotArea>
    <c:plotVisOnly val="1"/>
    <c:dispBlanksAs val="gap"/>
    <c:showDLblsOverMax val="0"/>
  </c:chart>
  <c:spPr>
    <a:noFill/>
    <a:ln>
      <a:solidFill>
        <a:schemeClr val="bg1">
          <a:lumMod val="95000"/>
        </a:schemeClr>
      </a:solidFill>
    </a:ln>
    <a:effectLst/>
  </c:spPr>
  <c:txPr>
    <a:bodyPr/>
    <a:lstStyle/>
    <a:p>
      <a:pPr>
        <a:defRPr>
          <a:latin typeface="Tenorite" panose="00000500000000000000" pitchFamily="2"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r>
              <a:rPr lang="pt-PT" sz="1200"/>
              <a:t>Job satisfac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enorite" panose="00000500000000000000" pitchFamily="2" charset="0"/>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enorite" panose="00000500000000000000"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ggestion16!$A$16:$A$19</c:f>
              <c:strCache>
                <c:ptCount val="4"/>
                <c:pt idx="0">
                  <c:v>Low</c:v>
                </c:pt>
                <c:pt idx="1">
                  <c:v>Medium</c:v>
                </c:pt>
                <c:pt idx="2">
                  <c:v>High</c:v>
                </c:pt>
                <c:pt idx="3">
                  <c:v>Very High</c:v>
                </c:pt>
              </c:strCache>
            </c:strRef>
          </c:cat>
          <c:val>
            <c:numRef>
              <c:f>Suggestion16!$B$16:$B$19</c:f>
              <c:numCache>
                <c:formatCode>0%</c:formatCode>
                <c:ptCount val="4"/>
                <c:pt idx="0">
                  <c:v>0.19659863945578232</c:v>
                </c:pt>
                <c:pt idx="1">
                  <c:v>0.19047619047619047</c:v>
                </c:pt>
                <c:pt idx="2">
                  <c:v>0.30068027210884352</c:v>
                </c:pt>
                <c:pt idx="3">
                  <c:v>0.3122448979591837</c:v>
                </c:pt>
              </c:numCache>
            </c:numRef>
          </c:val>
          <c:extLst>
            <c:ext xmlns:c16="http://schemas.microsoft.com/office/drawing/2014/chart" uri="{C3380CC4-5D6E-409C-BE32-E72D297353CC}">
              <c16:uniqueId val="{00000000-3645-42EE-B491-1F10A7D5068A}"/>
            </c:ext>
          </c:extLst>
        </c:ser>
        <c:dLbls>
          <c:dLblPos val="outEnd"/>
          <c:showLegendKey val="0"/>
          <c:showVal val="1"/>
          <c:showCatName val="0"/>
          <c:showSerName val="0"/>
          <c:showPercent val="0"/>
          <c:showBubbleSize val="0"/>
        </c:dLbls>
        <c:gapWidth val="80"/>
        <c:overlap val="-27"/>
        <c:axId val="919560928"/>
        <c:axId val="1107777072"/>
      </c:barChart>
      <c:catAx>
        <c:axId val="919560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enorite" panose="00000500000000000000" pitchFamily="2" charset="0"/>
                <a:ea typeface="+mn-ea"/>
                <a:cs typeface="+mn-cs"/>
              </a:defRPr>
            </a:pPr>
            <a:endParaRPr lang="en-US"/>
          </a:p>
        </c:txPr>
        <c:crossAx val="1107777072"/>
        <c:crosses val="autoZero"/>
        <c:auto val="1"/>
        <c:lblAlgn val="ctr"/>
        <c:lblOffset val="100"/>
        <c:noMultiLvlLbl val="0"/>
      </c:catAx>
      <c:valAx>
        <c:axId val="1107777072"/>
        <c:scaling>
          <c:orientation val="minMax"/>
        </c:scaling>
        <c:delete val="1"/>
        <c:axPos val="l"/>
        <c:numFmt formatCode="0%" sourceLinked="1"/>
        <c:majorTickMark val="none"/>
        <c:minorTickMark val="none"/>
        <c:tickLblPos val="nextTo"/>
        <c:crossAx val="919560928"/>
        <c:crosses val="autoZero"/>
        <c:crossBetween val="between"/>
      </c:valAx>
      <c:spPr>
        <a:noFill/>
        <a:ln w="25400">
          <a:noFill/>
        </a:ln>
        <a:effectLst/>
      </c:spPr>
    </c:plotArea>
    <c:plotVisOnly val="1"/>
    <c:dispBlanksAs val="gap"/>
    <c:showDLblsOverMax val="0"/>
  </c:chart>
  <c:spPr>
    <a:noFill/>
    <a:ln>
      <a:solidFill>
        <a:schemeClr val="bg1">
          <a:lumMod val="95000"/>
        </a:schemeClr>
      </a:solidFill>
    </a:ln>
    <a:effectLst/>
  </c:spPr>
  <c:txPr>
    <a:bodyPr/>
    <a:lstStyle/>
    <a:p>
      <a:pPr>
        <a:defRPr>
          <a:latin typeface="Tenorite" panose="00000500000000000000" pitchFamily="2" charset="0"/>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HR_DS!$A$2:$A$1471</cx:f>
        <cx:lvl ptCount="1470" formatCode="General">
          <cx:pt idx="0">41</cx:pt>
          <cx:pt idx="1">49</cx:pt>
          <cx:pt idx="2">37</cx:pt>
          <cx:pt idx="3">33</cx:pt>
          <cx:pt idx="4">27</cx:pt>
          <cx:pt idx="5">32</cx:pt>
          <cx:pt idx="6">59</cx:pt>
          <cx:pt idx="7">30</cx:pt>
          <cx:pt idx="8">38</cx:pt>
          <cx:pt idx="9">36</cx:pt>
          <cx:pt idx="10">35</cx:pt>
          <cx:pt idx="11">29</cx:pt>
          <cx:pt idx="12">31</cx:pt>
          <cx:pt idx="13">34</cx:pt>
          <cx:pt idx="14">28</cx:pt>
          <cx:pt idx="15">29</cx:pt>
          <cx:pt idx="16">32</cx:pt>
          <cx:pt idx="17">22</cx:pt>
          <cx:pt idx="18">53</cx:pt>
          <cx:pt idx="19">38</cx:pt>
          <cx:pt idx="20">24</cx:pt>
          <cx:pt idx="21">36</cx:pt>
          <cx:pt idx="22">34</cx:pt>
          <cx:pt idx="23">21</cx:pt>
          <cx:pt idx="24">34</cx:pt>
          <cx:pt idx="25">53</cx:pt>
          <cx:pt idx="26">32</cx:pt>
          <cx:pt idx="27">42</cx:pt>
          <cx:pt idx="28">44</cx:pt>
          <cx:pt idx="29">46</cx:pt>
          <cx:pt idx="30">33</cx:pt>
          <cx:pt idx="31">44</cx:pt>
          <cx:pt idx="32">30</cx:pt>
          <cx:pt idx="33">39</cx:pt>
          <cx:pt idx="34">24</cx:pt>
          <cx:pt idx="35">43</cx:pt>
          <cx:pt idx="36">50</cx:pt>
          <cx:pt idx="37">35</cx:pt>
          <cx:pt idx="38">36</cx:pt>
          <cx:pt idx="39">33</cx:pt>
          <cx:pt idx="40">35</cx:pt>
          <cx:pt idx="41">27</cx:pt>
          <cx:pt idx="42">26</cx:pt>
          <cx:pt idx="43">27</cx:pt>
          <cx:pt idx="44">30</cx:pt>
          <cx:pt idx="45">41</cx:pt>
          <cx:pt idx="46">34</cx:pt>
          <cx:pt idx="47">37</cx:pt>
          <cx:pt idx="48">46</cx:pt>
          <cx:pt idx="49">35</cx:pt>
          <cx:pt idx="50">48</cx:pt>
          <cx:pt idx="51">28</cx:pt>
          <cx:pt idx="52">44</cx:pt>
          <cx:pt idx="53">35</cx:pt>
          <cx:pt idx="54">26</cx:pt>
          <cx:pt idx="55">33</cx:pt>
          <cx:pt idx="56">35</cx:pt>
          <cx:pt idx="57">35</cx:pt>
          <cx:pt idx="58">31</cx:pt>
          <cx:pt idx="59">37</cx:pt>
          <cx:pt idx="60">32</cx:pt>
          <cx:pt idx="61">38</cx:pt>
          <cx:pt idx="62">50</cx:pt>
          <cx:pt idx="63">59</cx:pt>
          <cx:pt idx="64">36</cx:pt>
          <cx:pt idx="65">55</cx:pt>
          <cx:pt idx="66">36</cx:pt>
          <cx:pt idx="67">45</cx:pt>
          <cx:pt idx="68">35</cx:pt>
          <cx:pt idx="69">36</cx:pt>
          <cx:pt idx="70">59</cx:pt>
          <cx:pt idx="71">29</cx:pt>
          <cx:pt idx="72">31</cx:pt>
          <cx:pt idx="73">32</cx:pt>
          <cx:pt idx="74">36</cx:pt>
          <cx:pt idx="75">31</cx:pt>
          <cx:pt idx="76">35</cx:pt>
          <cx:pt idx="77">45</cx:pt>
          <cx:pt idx="78">37</cx:pt>
          <cx:pt idx="79">46</cx:pt>
          <cx:pt idx="80">30</cx:pt>
          <cx:pt idx="81">35</cx:pt>
          <cx:pt idx="82">55</cx:pt>
          <cx:pt idx="83">38</cx:pt>
          <cx:pt idx="84">34</cx:pt>
          <cx:pt idx="85">56</cx:pt>
          <cx:pt idx="86">23</cx:pt>
          <cx:pt idx="87">51</cx:pt>
          <cx:pt idx="88">30</cx:pt>
          <cx:pt idx="89">46</cx:pt>
          <cx:pt idx="90">40</cx:pt>
          <cx:pt idx="91">51</cx:pt>
          <cx:pt idx="92">30</cx:pt>
          <cx:pt idx="93">46</cx:pt>
          <cx:pt idx="94">32</cx:pt>
          <cx:pt idx="95">54</cx:pt>
          <cx:pt idx="96">24</cx:pt>
          <cx:pt idx="97">28</cx:pt>
          <cx:pt idx="98">58</cx:pt>
          <cx:pt idx="99">44</cx:pt>
          <cx:pt idx="100">37</cx:pt>
          <cx:pt idx="101">32</cx:pt>
          <cx:pt idx="102">20</cx:pt>
          <cx:pt idx="103">34</cx:pt>
          <cx:pt idx="104">37</cx:pt>
          <cx:pt idx="105">59</cx:pt>
          <cx:pt idx="106">50</cx:pt>
          <cx:pt idx="107">25</cx:pt>
          <cx:pt idx="108">25</cx:pt>
          <cx:pt idx="109">22</cx:pt>
          <cx:pt idx="110">51</cx:pt>
          <cx:pt idx="111">34</cx:pt>
          <cx:pt idx="112">54</cx:pt>
          <cx:pt idx="113">24</cx:pt>
          <cx:pt idx="114">34</cx:pt>
          <cx:pt idx="115">37</cx:pt>
          <cx:pt idx="116">34</cx:pt>
          <cx:pt idx="117">36</cx:pt>
          <cx:pt idx="118">36</cx:pt>
          <cx:pt idx="119">43</cx:pt>
          <cx:pt idx="120">30</cx:pt>
          <cx:pt idx="121">33</cx:pt>
          <cx:pt idx="122">56</cx:pt>
          <cx:pt idx="123">51</cx:pt>
          <cx:pt idx="124">31</cx:pt>
          <cx:pt idx="125">26</cx:pt>
          <cx:pt idx="126">58</cx:pt>
          <cx:pt idx="127">19</cx:pt>
          <cx:pt idx="128">22</cx:pt>
          <cx:pt idx="129">49</cx:pt>
          <cx:pt idx="130">43</cx:pt>
          <cx:pt idx="131">50</cx:pt>
          <cx:pt idx="132">31</cx:pt>
          <cx:pt idx="133">41</cx:pt>
          <cx:pt idx="134">26</cx:pt>
          <cx:pt idx="135">36</cx:pt>
          <cx:pt idx="136">51</cx:pt>
          <cx:pt idx="137">39</cx:pt>
          <cx:pt idx="138">25</cx:pt>
          <cx:pt idx="139">30</cx:pt>
          <cx:pt idx="140">32</cx:pt>
          <cx:pt idx="141">45</cx:pt>
          <cx:pt idx="142">38</cx:pt>
          <cx:pt idx="143">30</cx:pt>
          <cx:pt idx="144">32</cx:pt>
          <cx:pt idx="145">30</cx:pt>
          <cx:pt idx="146">30</cx:pt>
          <cx:pt idx="147">41</cx:pt>
          <cx:pt idx="148">41</cx:pt>
          <cx:pt idx="149">19</cx:pt>
          <cx:pt idx="150">40</cx:pt>
          <cx:pt idx="151">35</cx:pt>
          <cx:pt idx="152">53</cx:pt>
          <cx:pt idx="153">45</cx:pt>
          <cx:pt idx="154">32</cx:pt>
          <cx:pt idx="155">29</cx:pt>
          <cx:pt idx="156">51</cx:pt>
          <cx:pt idx="157">58</cx:pt>
          <cx:pt idx="158">40</cx:pt>
          <cx:pt idx="159">34</cx:pt>
          <cx:pt idx="160">22</cx:pt>
          <cx:pt idx="161">27</cx:pt>
          <cx:pt idx="162">28</cx:pt>
          <cx:pt idx="163">57</cx:pt>
          <cx:pt idx="164">27</cx:pt>
          <cx:pt idx="165">50</cx:pt>
          <cx:pt idx="166">41</cx:pt>
          <cx:pt idx="167">30</cx:pt>
          <cx:pt idx="168">38</cx:pt>
          <cx:pt idx="169">32</cx:pt>
          <cx:pt idx="170">27</cx:pt>
          <cx:pt idx="171">19</cx:pt>
          <cx:pt idx="172">36</cx:pt>
          <cx:pt idx="173">30</cx:pt>
          <cx:pt idx="174">45</cx:pt>
          <cx:pt idx="175">56</cx:pt>
          <cx:pt idx="176">33</cx:pt>
          <cx:pt idx="177">19</cx:pt>
          <cx:pt idx="178">46</cx:pt>
          <cx:pt idx="179">38</cx:pt>
          <cx:pt idx="180">31</cx:pt>
          <cx:pt idx="181">34</cx:pt>
          <cx:pt idx="182">41</cx:pt>
          <cx:pt idx="183">50</cx:pt>
          <cx:pt idx="184">53</cx:pt>
          <cx:pt idx="185">33</cx:pt>
          <cx:pt idx="186">40</cx:pt>
          <cx:pt idx="187">55</cx:pt>
          <cx:pt idx="188">34</cx:pt>
          <cx:pt idx="189">51</cx:pt>
          <cx:pt idx="190">52</cx:pt>
          <cx:pt idx="191">27</cx:pt>
          <cx:pt idx="192">35</cx:pt>
          <cx:pt idx="193">43</cx:pt>
          <cx:pt idx="194">45</cx:pt>
          <cx:pt idx="195">37</cx:pt>
          <cx:pt idx="196">35</cx:pt>
          <cx:pt idx="197">42</cx:pt>
          <cx:pt idx="198">38</cx:pt>
          <cx:pt idx="199">38</cx:pt>
          <cx:pt idx="200">27</cx:pt>
          <cx:pt idx="201">49</cx:pt>
          <cx:pt idx="202">34</cx:pt>
          <cx:pt idx="203">40</cx:pt>
          <cx:pt idx="204">38</cx:pt>
          <cx:pt idx="205">29</cx:pt>
          <cx:pt idx="206">22</cx:pt>
          <cx:pt idx="207">36</cx:pt>
          <cx:pt idx="208">40</cx:pt>
          <cx:pt idx="209">46</cx:pt>
          <cx:pt idx="210">32</cx:pt>
          <cx:pt idx="211">30</cx:pt>
          <cx:pt idx="212">27</cx:pt>
          <cx:pt idx="213">51</cx:pt>
          <cx:pt idx="214">30</cx:pt>
          <cx:pt idx="215">41</cx:pt>
          <cx:pt idx="216">30</cx:pt>
          <cx:pt idx="217">29</cx:pt>
          <cx:pt idx="218">45</cx:pt>
          <cx:pt idx="219">54</cx:pt>
          <cx:pt idx="220">36</cx:pt>
          <cx:pt idx="221">33</cx:pt>
          <cx:pt idx="222">37</cx:pt>
          <cx:pt idx="223">38</cx:pt>
          <cx:pt idx="224">31</cx:pt>
          <cx:pt idx="225">59</cx:pt>
          <cx:pt idx="226">37</cx:pt>
          <cx:pt idx="227">29</cx:pt>
          <cx:pt idx="228">35</cx:pt>
          <cx:pt idx="229">29</cx:pt>
          <cx:pt idx="230">52</cx:pt>
          <cx:pt idx="231">42</cx:pt>
          <cx:pt idx="232">59</cx:pt>
          <cx:pt idx="233">50</cx:pt>
          <cx:pt idx="234">33</cx:pt>
          <cx:pt idx="235">43</cx:pt>
          <cx:pt idx="236">33</cx:pt>
          <cx:pt idx="237">52</cx:pt>
          <cx:pt idx="238">32</cx:pt>
          <cx:pt idx="239">32</cx:pt>
          <cx:pt idx="240">39</cx:pt>
          <cx:pt idx="241">32</cx:pt>
          <cx:pt idx="242">41</cx:pt>
          <cx:pt idx="243">40</cx:pt>
          <cx:pt idx="244">45</cx:pt>
          <cx:pt idx="245">31</cx:pt>
          <cx:pt idx="246">33</cx:pt>
          <cx:pt idx="247">34</cx:pt>
          <cx:pt idx="248">37</cx:pt>
          <cx:pt idx="249">45</cx:pt>
          <cx:pt idx="250">37</cx:pt>
          <cx:pt idx="251">39</cx:pt>
          <cx:pt idx="252">29</cx:pt>
          <cx:pt idx="253">42</cx:pt>
          <cx:pt idx="254">29</cx:pt>
          <cx:pt idx="255">25</cx:pt>
          <cx:pt idx="256">42</cx:pt>
          <cx:pt idx="257">40</cx:pt>
          <cx:pt idx="258">51</cx:pt>
          <cx:pt idx="259">31</cx:pt>
          <cx:pt idx="260">32</cx:pt>
          <cx:pt idx="261">38</cx:pt>
          <cx:pt idx="262">32</cx:pt>
          <cx:pt idx="263">46</cx:pt>
          <cx:pt idx="264">28</cx:pt>
          <cx:pt idx="265">29</cx:pt>
          <cx:pt idx="266">31</cx:pt>
          <cx:pt idx="267">25</cx:pt>
          <cx:pt idx="268">45</cx:pt>
          <cx:pt idx="269">36</cx:pt>
          <cx:pt idx="270">55</cx:pt>
          <cx:pt idx="271">47</cx:pt>
          <cx:pt idx="272">28</cx:pt>
          <cx:pt idx="273">37</cx:pt>
          <cx:pt idx="274">21</cx:pt>
          <cx:pt idx="275">37</cx:pt>
          <cx:pt idx="276">35</cx:pt>
          <cx:pt idx="277">38</cx:pt>
          <cx:pt idx="278">26</cx:pt>
          <cx:pt idx="279">50</cx:pt>
          <cx:pt idx="280">53</cx:pt>
          <cx:pt idx="281">42</cx:pt>
          <cx:pt idx="282">29</cx:pt>
          <cx:pt idx="283">55</cx:pt>
          <cx:pt idx="284">26</cx:pt>
          <cx:pt idx="285">37</cx:pt>
          <cx:pt idx="286">44</cx:pt>
          <cx:pt idx="287">38</cx:pt>
          <cx:pt idx="288">26</cx:pt>
          <cx:pt idx="289">28</cx:pt>
          <cx:pt idx="290">49</cx:pt>
          <cx:pt idx="291">36</cx:pt>
          <cx:pt idx="292">31</cx:pt>
          <cx:pt idx="293">26</cx:pt>
          <cx:pt idx="294">37</cx:pt>
          <cx:pt idx="295">42</cx:pt>
          <cx:pt idx="296">18</cx:pt>
          <cx:pt idx="297">35</cx:pt>
          <cx:pt idx="298">36</cx:pt>
          <cx:pt idx="299">51</cx:pt>
          <cx:pt idx="300">41</cx:pt>
          <cx:pt idx="301">18</cx:pt>
          <cx:pt idx="302">28</cx:pt>
          <cx:pt idx="303">31</cx:pt>
          <cx:pt idx="304">39</cx:pt>
          <cx:pt idx="305">36</cx:pt>
          <cx:pt idx="306">32</cx:pt>
          <cx:pt idx="307">38</cx:pt>
          <cx:pt idx="308">58</cx:pt>
          <cx:pt idx="309">31</cx:pt>
          <cx:pt idx="310">31</cx:pt>
          <cx:pt idx="311">45</cx:pt>
          <cx:pt idx="312">31</cx:pt>
          <cx:pt idx="313">33</cx:pt>
          <cx:pt idx="314">39</cx:pt>
          <cx:pt idx="315">43</cx:pt>
          <cx:pt idx="316">49</cx:pt>
          <cx:pt idx="317">52</cx:pt>
          <cx:pt idx="318">27</cx:pt>
          <cx:pt idx="319">32</cx:pt>
          <cx:pt idx="320">27</cx:pt>
          <cx:pt idx="321">31</cx:pt>
          <cx:pt idx="322">32</cx:pt>
          <cx:pt idx="323">28</cx:pt>
          <cx:pt idx="324">30</cx:pt>
          <cx:pt idx="325">31</cx:pt>
          <cx:pt idx="326">39</cx:pt>
          <cx:pt idx="327">39</cx:pt>
          <cx:pt idx="328">33</cx:pt>
          <cx:pt idx="329">47</cx:pt>
          <cx:pt idx="330">43</cx:pt>
          <cx:pt idx="331">27</cx:pt>
          <cx:pt idx="332">54</cx:pt>
          <cx:pt idx="333">43</cx:pt>
          <cx:pt idx="334">45</cx:pt>
          <cx:pt idx="335">40</cx:pt>
          <cx:pt idx="336">29</cx:pt>
          <cx:pt idx="337">29</cx:pt>
          <cx:pt idx="338">30</cx:pt>
          <cx:pt idx="339">27</cx:pt>
          <cx:pt idx="340">37</cx:pt>
          <cx:pt idx="341">38</cx:pt>
          <cx:pt idx="342">31</cx:pt>
          <cx:pt idx="343">29</cx:pt>
          <cx:pt idx="344">35</cx:pt>
          <cx:pt idx="345">23</cx:pt>
          <cx:pt idx="346">41</cx:pt>
          <cx:pt idx="347">47</cx:pt>
          <cx:pt idx="348">42</cx:pt>
          <cx:pt idx="349">29</cx:pt>
          <cx:pt idx="350">42</cx:pt>
          <cx:pt idx="351">32</cx:pt>
          <cx:pt idx="352">48</cx:pt>
          <cx:pt idx="353">37</cx:pt>
          <cx:pt idx="354">30</cx:pt>
          <cx:pt idx="355">26</cx:pt>
          <cx:pt idx="356">42</cx:pt>
          <cx:pt idx="357">21</cx:pt>
          <cx:pt idx="358">36</cx:pt>
          <cx:pt idx="359">36</cx:pt>
          <cx:pt idx="360">57</cx:pt>
          <cx:pt idx="361">40</cx:pt>
          <cx:pt idx="362">21</cx:pt>
          <cx:pt idx="363">33</cx:pt>
          <cx:pt idx="364">37</cx:pt>
          <cx:pt idx="365">46</cx:pt>
          <cx:pt idx="366">41</cx:pt>
          <cx:pt idx="367">50</cx:pt>
          <cx:pt idx="368">40</cx:pt>
          <cx:pt idx="369">31</cx:pt>
          <cx:pt idx="370">21</cx:pt>
          <cx:pt idx="371">29</cx:pt>
          <cx:pt idx="372">35</cx:pt>
          <cx:pt idx="373">27</cx:pt>
          <cx:pt idx="374">28</cx:pt>
          <cx:pt idx="375">49</cx:pt>
          <cx:pt idx="376">51</cx:pt>
          <cx:pt idx="377">36</cx:pt>
          <cx:pt idx="378">34</cx:pt>
          <cx:pt idx="379">55</cx:pt>
          <cx:pt idx="380">24</cx:pt>
          <cx:pt idx="381">30</cx:pt>
          <cx:pt idx="382">26</cx:pt>
          <cx:pt idx="383">22</cx:pt>
          <cx:pt idx="384">36</cx:pt>
          <cx:pt idx="385">30</cx:pt>
          <cx:pt idx="386">37</cx:pt>
          <cx:pt idx="387">40</cx:pt>
          <cx:pt idx="388">42</cx:pt>
          <cx:pt idx="389">37</cx:pt>
          <cx:pt idx="390">43</cx:pt>
          <cx:pt idx="391">40</cx:pt>
          <cx:pt idx="392">54</cx:pt>
          <cx:pt idx="393">34</cx:pt>
          <cx:pt idx="394">31</cx:pt>
          <cx:pt idx="395">43</cx:pt>
          <cx:pt idx="396">43</cx:pt>
          <cx:pt idx="397">25</cx:pt>
          <cx:pt idx="398">37</cx:pt>
          <cx:pt idx="399">31</cx:pt>
          <cx:pt idx="400">39</cx:pt>
          <cx:pt idx="401">56</cx:pt>
          <cx:pt idx="402">30</cx:pt>
          <cx:pt idx="403">41</cx:pt>
          <cx:pt idx="404">28</cx:pt>
          <cx:pt idx="405">25</cx:pt>
          <cx:pt idx="406">52</cx:pt>
          <cx:pt idx="407">45</cx:pt>
          <cx:pt idx="408">52</cx:pt>
          <cx:pt idx="409">42</cx:pt>
          <cx:pt idx="410">30</cx:pt>
          <cx:pt idx="411">60</cx:pt>
          <cx:pt idx="412">46</cx:pt>
          <cx:pt idx="413">42</cx:pt>
          <cx:pt idx="414">24</cx:pt>
          <cx:pt idx="415">34</cx:pt>
          <cx:pt idx="416">38</cx:pt>
          <cx:pt idx="417">40</cx:pt>
          <cx:pt idx="418">26</cx:pt>
          <cx:pt idx="419">30</cx:pt>
          <cx:pt idx="420">29</cx:pt>
          <cx:pt idx="421">29</cx:pt>
          <cx:pt idx="422">19</cx:pt>
          <cx:pt idx="423">30</cx:pt>
          <cx:pt idx="424">57</cx:pt>
          <cx:pt idx="425">50</cx:pt>
          <cx:pt idx="426">30</cx:pt>
          <cx:pt idx="427">60</cx:pt>
          <cx:pt idx="428">47</cx:pt>
          <cx:pt idx="429">46</cx:pt>
          <cx:pt idx="430">35</cx:pt>
          <cx:pt idx="431">54</cx:pt>
          <cx:pt idx="432">34</cx:pt>
          <cx:pt idx="433">46</cx:pt>
          <cx:pt idx="434">31</cx:pt>
          <cx:pt idx="435">33</cx:pt>
          <cx:pt idx="436">33</cx:pt>
          <cx:pt idx="437">30</cx:pt>
          <cx:pt idx="438">35</cx:pt>
          <cx:pt idx="439">31</cx:pt>
          <cx:pt idx="440">34</cx:pt>
          <cx:pt idx="441">42</cx:pt>
          <cx:pt idx="442">36</cx:pt>
          <cx:pt idx="443">22</cx:pt>
          <cx:pt idx="444">48</cx:pt>
          <cx:pt idx="445">55</cx:pt>
          <cx:pt idx="446">41</cx:pt>
          <cx:pt idx="447">35</cx:pt>
          <cx:pt idx="448">40</cx:pt>
          <cx:pt idx="449">39</cx:pt>
          <cx:pt idx="450">31</cx:pt>
          <cx:pt idx="451">42</cx:pt>
          <cx:pt idx="452">45</cx:pt>
          <cx:pt idx="453">26</cx:pt>
          <cx:pt idx="454">29</cx:pt>
          <cx:pt idx="455">33</cx:pt>
          <cx:pt idx="456">31</cx:pt>
          <cx:pt idx="457">18</cx:pt>
          <cx:pt idx="458">40</cx:pt>
          <cx:pt idx="459">41</cx:pt>
          <cx:pt idx="460">26</cx:pt>
          <cx:pt idx="461">35</cx:pt>
          <cx:pt idx="462">34</cx:pt>
          <cx:pt idx="463">26</cx:pt>
          <cx:pt idx="464">37</cx:pt>
          <cx:pt idx="465">46</cx:pt>
          <cx:pt idx="466">41</cx:pt>
          <cx:pt idx="467">37</cx:pt>
          <cx:pt idx="468">52</cx:pt>
          <cx:pt idx="469">32</cx:pt>
          <cx:pt idx="470">24</cx:pt>
          <cx:pt idx="471">38</cx:pt>
          <cx:pt idx="472">37</cx:pt>
          <cx:pt idx="473">49</cx:pt>
          <cx:pt idx="474">24</cx:pt>
          <cx:pt idx="475">26</cx:pt>
          <cx:pt idx="476">24</cx:pt>
          <cx:pt idx="477">50</cx:pt>
          <cx:pt idx="478">25</cx:pt>
          <cx:pt idx="479">24</cx:pt>
          <cx:pt idx="480">30</cx:pt>
          <cx:pt idx="481">34</cx:pt>
          <cx:pt idx="482">31</cx:pt>
          <cx:pt idx="483">35</cx:pt>
          <cx:pt idx="484">31</cx:pt>
          <cx:pt idx="485">27</cx:pt>
          <cx:pt idx="486">37</cx:pt>
          <cx:pt idx="487">20</cx:pt>
          <cx:pt idx="488">42</cx:pt>
          <cx:pt idx="489">43</cx:pt>
          <cx:pt idx="490">38</cx:pt>
          <cx:pt idx="491">43</cx:pt>
          <cx:pt idx="492">48</cx:pt>
          <cx:pt idx="493">44</cx:pt>
          <cx:pt idx="494">34</cx:pt>
          <cx:pt idx="495">27</cx:pt>
          <cx:pt idx="496">21</cx:pt>
          <cx:pt idx="497">44</cx:pt>
          <cx:pt idx="498">22</cx:pt>
          <cx:pt idx="499">33</cx:pt>
          <cx:pt idx="500">32</cx:pt>
          <cx:pt idx="501">30</cx:pt>
          <cx:pt idx="502">53</cx:pt>
          <cx:pt idx="503">34</cx:pt>
          <cx:pt idx="504">45</cx:pt>
          <cx:pt idx="505">26</cx:pt>
          <cx:pt idx="506">37</cx:pt>
          <cx:pt idx="507">29</cx:pt>
          <cx:pt idx="508">35</cx:pt>
          <cx:pt idx="509">33</cx:pt>
          <cx:pt idx="510">54</cx:pt>
          <cx:pt idx="511">36</cx:pt>
          <cx:pt idx="512">27</cx:pt>
          <cx:pt idx="513">20</cx:pt>
          <cx:pt idx="514">33</cx:pt>
          <cx:pt idx="515">35</cx:pt>
          <cx:pt idx="516">23</cx:pt>
          <cx:pt idx="517">25</cx:pt>
          <cx:pt idx="518">38</cx:pt>
          <cx:pt idx="519">29</cx:pt>
          <cx:pt idx="520">48</cx:pt>
          <cx:pt idx="521">27</cx:pt>
          <cx:pt idx="522">37</cx:pt>
          <cx:pt idx="523">50</cx:pt>
          <cx:pt idx="524">34</cx:pt>
          <cx:pt idx="525">24</cx:pt>
          <cx:pt idx="526">39</cx:pt>
          <cx:pt idx="527">32</cx:pt>
          <cx:pt idx="528">50</cx:pt>
          <cx:pt idx="529">38</cx:pt>
          <cx:pt idx="530">27</cx:pt>
          <cx:pt idx="531">32</cx:pt>
          <cx:pt idx="532">47</cx:pt>
          <cx:pt idx="533">40</cx:pt>
          <cx:pt idx="534">53</cx:pt>
          <cx:pt idx="535">41</cx:pt>
          <cx:pt idx="536">60</cx:pt>
          <cx:pt idx="537">27</cx:pt>
          <cx:pt idx="538">41</cx:pt>
          <cx:pt idx="539">50</cx:pt>
          <cx:pt idx="540">28</cx:pt>
          <cx:pt idx="541">36</cx:pt>
          <cx:pt idx="542">38</cx:pt>
          <cx:pt idx="543">44</cx:pt>
          <cx:pt idx="544">47</cx:pt>
          <cx:pt idx="545">30</cx:pt>
          <cx:pt idx="546">29</cx:pt>
          <cx:pt idx="547">42</cx:pt>
          <cx:pt idx="548">43</cx:pt>
          <cx:pt idx="549">34</cx:pt>
          <cx:pt idx="550">23</cx:pt>
          <cx:pt idx="551">39</cx:pt>
          <cx:pt idx="552">56</cx:pt>
          <cx:pt idx="553">40</cx:pt>
          <cx:pt idx="554">27</cx:pt>
          <cx:pt idx="555">29</cx:pt>
          <cx:pt idx="556">53</cx:pt>
          <cx:pt idx="557">35</cx:pt>
          <cx:pt idx="558">32</cx:pt>
          <cx:pt idx="559">38</cx:pt>
          <cx:pt idx="560">34</cx:pt>
          <cx:pt idx="561">52</cx:pt>
          <cx:pt idx="562">33</cx:pt>
          <cx:pt idx="563">25</cx:pt>
          <cx:pt idx="564">45</cx:pt>
          <cx:pt idx="565">23</cx:pt>
          <cx:pt idx="566">47</cx:pt>
          <cx:pt idx="567">34</cx:pt>
          <cx:pt idx="568">55</cx:pt>
          <cx:pt idx="569">36</cx:pt>
          <cx:pt idx="570">52</cx:pt>
          <cx:pt idx="571">26</cx:pt>
          <cx:pt idx="572">29</cx:pt>
          <cx:pt idx="573">26</cx:pt>
          <cx:pt idx="574">34</cx:pt>
          <cx:pt idx="575">54</cx:pt>
          <cx:pt idx="576">27</cx:pt>
          <cx:pt idx="577">37</cx:pt>
          <cx:pt idx="578">38</cx:pt>
          <cx:pt idx="579">34</cx:pt>
          <cx:pt idx="580">35</cx:pt>
          <cx:pt idx="581">30</cx:pt>
          <cx:pt idx="582">40</cx:pt>
          <cx:pt idx="583">34</cx:pt>
          <cx:pt idx="584">42</cx:pt>
          <cx:pt idx="585">23</cx:pt>
          <cx:pt idx="586">24</cx:pt>
          <cx:pt idx="587">52</cx:pt>
          <cx:pt idx="588">50</cx:pt>
          <cx:pt idx="589">29</cx:pt>
          <cx:pt idx="590">33</cx:pt>
          <cx:pt idx="591">33</cx:pt>
          <cx:pt idx="592">47</cx:pt>
          <cx:pt idx="593">36</cx:pt>
          <cx:pt idx="594">29</cx:pt>
          <cx:pt idx="595">58</cx:pt>
          <cx:pt idx="596">35</cx:pt>
          <cx:pt idx="597">42</cx:pt>
          <cx:pt idx="598">28</cx:pt>
          <cx:pt idx="599">36</cx:pt>
          <cx:pt idx="600">32</cx:pt>
          <cx:pt idx="601">40</cx:pt>
          <cx:pt idx="602">30</cx:pt>
          <cx:pt idx="603">45</cx:pt>
          <cx:pt idx="604">42</cx:pt>
          <cx:pt idx="605">38</cx:pt>
          <cx:pt idx="606">34</cx:pt>
          <cx:pt idx="607">49</cx:pt>
          <cx:pt idx="608">55</cx:pt>
          <cx:pt idx="609">43</cx:pt>
          <cx:pt idx="610">27</cx:pt>
          <cx:pt idx="611">35</cx:pt>
          <cx:pt idx="612">28</cx:pt>
          <cx:pt idx="613">34</cx:pt>
          <cx:pt idx="614">26</cx:pt>
          <cx:pt idx="615">27</cx:pt>
          <cx:pt idx="616">51</cx:pt>
          <cx:pt idx="617">44</cx:pt>
          <cx:pt idx="618">25</cx:pt>
          <cx:pt idx="619">33</cx:pt>
          <cx:pt idx="620">35</cx:pt>
          <cx:pt idx="621">36</cx:pt>
          <cx:pt idx="622">32</cx:pt>
          <cx:pt idx="623">30</cx:pt>
          <cx:pt idx="624">53</cx:pt>
          <cx:pt idx="625">45</cx:pt>
          <cx:pt idx="626">32</cx:pt>
          <cx:pt idx="627">52</cx:pt>
          <cx:pt idx="628">37</cx:pt>
          <cx:pt idx="629">28</cx:pt>
          <cx:pt idx="630">22</cx:pt>
          <cx:pt idx="631">44</cx:pt>
          <cx:pt idx="632">42</cx:pt>
          <cx:pt idx="633">36</cx:pt>
          <cx:pt idx="634">25</cx:pt>
          <cx:pt idx="635">35</cx:pt>
          <cx:pt idx="636">35</cx:pt>
          <cx:pt idx="637">32</cx:pt>
          <cx:pt idx="638">25</cx:pt>
          <cx:pt idx="639">49</cx:pt>
          <cx:pt idx="640">24</cx:pt>
          <cx:pt idx="641">32</cx:pt>
          <cx:pt idx="642">38</cx:pt>
          <cx:pt idx="643">42</cx:pt>
          <cx:pt idx="644">31</cx:pt>
          <cx:pt idx="645">29</cx:pt>
          <cx:pt idx="646">53</cx:pt>
          <cx:pt idx="647">35</cx:pt>
          <cx:pt idx="648">37</cx:pt>
          <cx:pt idx="649">53</cx:pt>
          <cx:pt idx="650">43</cx:pt>
          <cx:pt idx="651">47</cx:pt>
          <cx:pt idx="652">37</cx:pt>
          <cx:pt idx="653">50</cx:pt>
          <cx:pt idx="654">39</cx:pt>
          <cx:pt idx="655">33</cx:pt>
          <cx:pt idx="656">32</cx:pt>
          <cx:pt idx="657">29</cx:pt>
          <cx:pt idx="658">44</cx:pt>
          <cx:pt idx="659">28</cx:pt>
          <cx:pt idx="660">58</cx:pt>
          <cx:pt idx="661">43</cx:pt>
          <cx:pt idx="662">20</cx:pt>
          <cx:pt idx="663">21</cx:pt>
          <cx:pt idx="664">36</cx:pt>
          <cx:pt idx="665">47</cx:pt>
          <cx:pt idx="666">22</cx:pt>
          <cx:pt idx="667">41</cx:pt>
          <cx:pt idx="668">28</cx:pt>
          <cx:pt idx="669">39</cx:pt>
          <cx:pt idx="670">27</cx:pt>
          <cx:pt idx="671">34</cx:pt>
          <cx:pt idx="672">42</cx:pt>
          <cx:pt idx="673">33</cx:pt>
          <cx:pt idx="674">58</cx:pt>
          <cx:pt idx="675">31</cx:pt>
          <cx:pt idx="676">35</cx:pt>
          <cx:pt idx="677">49</cx:pt>
          <cx:pt idx="678">48</cx:pt>
          <cx:pt idx="679">31</cx:pt>
          <cx:pt idx="680">36</cx:pt>
          <cx:pt idx="681">38</cx:pt>
          <cx:pt idx="682">32</cx:pt>
          <cx:pt idx="683">25</cx:pt>
          <cx:pt idx="684">40</cx:pt>
          <cx:pt idx="685">26</cx:pt>
          <cx:pt idx="686">41</cx:pt>
          <cx:pt idx="687">36</cx:pt>
          <cx:pt idx="688">19</cx:pt>
          <cx:pt idx="689">20</cx:pt>
          <cx:pt idx="690">31</cx:pt>
          <cx:pt idx="691">40</cx:pt>
          <cx:pt idx="692">32</cx:pt>
          <cx:pt idx="693">36</cx:pt>
          <cx:pt idx="694">33</cx:pt>
          <cx:pt idx="695">37</cx:pt>
          <cx:pt idx="696">45</cx:pt>
          <cx:pt idx="697">29</cx:pt>
          <cx:pt idx="698">35</cx:pt>
          <cx:pt idx="699">52</cx:pt>
          <cx:pt idx="700">58</cx:pt>
          <cx:pt idx="701">53</cx:pt>
          <cx:pt idx="702">30</cx:pt>
          <cx:pt idx="703">38</cx:pt>
          <cx:pt idx="704">35</cx:pt>
          <cx:pt idx="705">39</cx:pt>
          <cx:pt idx="706">40</cx:pt>
          <cx:pt idx="707">47</cx:pt>
          <cx:pt idx="708">36</cx:pt>
          <cx:pt idx="709">31</cx:pt>
          <cx:pt idx="710">33</cx:pt>
          <cx:pt idx="711">29</cx:pt>
          <cx:pt idx="712">33</cx:pt>
          <cx:pt idx="713">45</cx:pt>
          <cx:pt idx="714">50</cx:pt>
          <cx:pt idx="715">33</cx:pt>
          <cx:pt idx="716">41</cx:pt>
          <cx:pt idx="717">27</cx:pt>
          <cx:pt idx="718">45</cx:pt>
          <cx:pt idx="719">47</cx:pt>
          <cx:pt idx="720">30</cx:pt>
          <cx:pt idx="721">50</cx:pt>
          <cx:pt idx="722">38</cx:pt>
          <cx:pt idx="723">46</cx:pt>
          <cx:pt idx="724">24</cx:pt>
          <cx:pt idx="725">35</cx:pt>
          <cx:pt idx="726">31</cx:pt>
          <cx:pt idx="727">18</cx:pt>
          <cx:pt idx="728">54</cx:pt>
          <cx:pt idx="729">35</cx:pt>
          <cx:pt idx="730">30</cx:pt>
          <cx:pt idx="731">20</cx:pt>
          <cx:pt idx="732">30</cx:pt>
          <cx:pt idx="733">26</cx:pt>
          <cx:pt idx="734">22</cx:pt>
          <cx:pt idx="735">48</cx:pt>
          <cx:pt idx="736">48</cx:pt>
          <cx:pt idx="737">41</cx:pt>
          <cx:pt idx="738">39</cx:pt>
          <cx:pt idx="739">27</cx:pt>
          <cx:pt idx="740">35</cx:pt>
          <cx:pt idx="741">42</cx:pt>
          <cx:pt idx="742">50</cx:pt>
          <cx:pt idx="743">59</cx:pt>
          <cx:pt idx="744">37</cx:pt>
          <cx:pt idx="745">55</cx:pt>
          <cx:pt idx="746">41</cx:pt>
          <cx:pt idx="747">38</cx:pt>
          <cx:pt idx="748">26</cx:pt>
          <cx:pt idx="749">52</cx:pt>
          <cx:pt idx="750">44</cx:pt>
          <cx:pt idx="751">50</cx:pt>
          <cx:pt idx="752">36</cx:pt>
          <cx:pt idx="753">39</cx:pt>
          <cx:pt idx="754">33</cx:pt>
          <cx:pt idx="755">45</cx:pt>
          <cx:pt idx="756">32</cx:pt>
          <cx:pt idx="757">34</cx:pt>
          <cx:pt idx="758">59</cx:pt>
          <cx:pt idx="759">45</cx:pt>
          <cx:pt idx="760">53</cx:pt>
          <cx:pt idx="761">36</cx:pt>
          <cx:pt idx="762">26</cx:pt>
          <cx:pt idx="763">34</cx:pt>
          <cx:pt idx="764">28</cx:pt>
          <cx:pt idx="765">38</cx:pt>
          <cx:pt idx="766">50</cx:pt>
          <cx:pt idx="767">37</cx:pt>
          <cx:pt idx="768">40</cx:pt>
          <cx:pt idx="769">26</cx:pt>
          <cx:pt idx="770">46</cx:pt>
          <cx:pt idx="771">54</cx:pt>
          <cx:pt idx="772">56</cx:pt>
          <cx:pt idx="773">36</cx:pt>
          <cx:pt idx="774">55</cx:pt>
          <cx:pt idx="775">43</cx:pt>
          <cx:pt idx="776">20</cx:pt>
          <cx:pt idx="777">21</cx:pt>
          <cx:pt idx="778">46</cx:pt>
          <cx:pt idx="779">51</cx:pt>
          <cx:pt idx="780">28</cx:pt>
          <cx:pt idx="781">26</cx:pt>
          <cx:pt idx="782">30</cx:pt>
          <cx:pt idx="783">41</cx:pt>
          <cx:pt idx="784">38</cx:pt>
          <cx:pt idx="785">40</cx:pt>
          <cx:pt idx="786">27</cx:pt>
          <cx:pt idx="787">55</cx:pt>
          <cx:pt idx="788">28</cx:pt>
          <cx:pt idx="789">44</cx:pt>
          <cx:pt idx="790">33</cx:pt>
          <cx:pt idx="791">35</cx:pt>
          <cx:pt idx="792">33</cx:pt>
          <cx:pt idx="793">28</cx:pt>
          <cx:pt idx="794">34</cx:pt>
          <cx:pt idx="795">37</cx:pt>
          <cx:pt idx="796">25</cx:pt>
          <cx:pt idx="797">26</cx:pt>
          <cx:pt idx="798">33</cx:pt>
          <cx:pt idx="799">42</cx:pt>
          <cx:pt idx="800">28</cx:pt>
          <cx:pt idx="801">50</cx:pt>
          <cx:pt idx="802">33</cx:pt>
          <cx:pt idx="803">34</cx:pt>
          <cx:pt idx="804">48</cx:pt>
          <cx:pt idx="805">45</cx:pt>
          <cx:pt idx="806">52</cx:pt>
          <cx:pt idx="807">38</cx:pt>
          <cx:pt idx="808">29</cx:pt>
          <cx:pt idx="809">28</cx:pt>
          <cx:pt idx="810">46</cx:pt>
          <cx:pt idx="811">38</cx:pt>
          <cx:pt idx="812">43</cx:pt>
          <cx:pt idx="813">39</cx:pt>
          <cx:pt idx="814">40</cx:pt>
          <cx:pt idx="815">21</cx:pt>
          <cx:pt idx="816">39</cx:pt>
          <cx:pt idx="817">36</cx:pt>
          <cx:pt idx="818">31</cx:pt>
          <cx:pt idx="819">28</cx:pt>
          <cx:pt idx="820">35</cx:pt>
          <cx:pt idx="821">49</cx:pt>
          <cx:pt idx="822">34</cx:pt>
          <cx:pt idx="823">29</cx:pt>
          <cx:pt idx="824">42</cx:pt>
          <cx:pt idx="825">29</cx:pt>
          <cx:pt idx="826">38</cx:pt>
          <cx:pt idx="827">28</cx:pt>
          <cx:pt idx="828">18</cx:pt>
          <cx:pt idx="829">33</cx:pt>
          <cx:pt idx="830">41</cx:pt>
          <cx:pt idx="831">31</cx:pt>
          <cx:pt idx="832">37</cx:pt>
          <cx:pt idx="833">27</cx:pt>
          <cx:pt idx="834">34</cx:pt>
          <cx:pt idx="835">35</cx:pt>
          <cx:pt idx="836">29</cx:pt>
          <cx:pt idx="837">40</cx:pt>
          <cx:pt idx="838">42</cx:pt>
          <cx:pt idx="839">42</cx:pt>
          <cx:pt idx="840">35</cx:pt>
          <cx:pt idx="841">24</cx:pt>
          <cx:pt idx="842">28</cx:pt>
          <cx:pt idx="843">26</cx:pt>
          <cx:pt idx="844">30</cx:pt>
          <cx:pt idx="845">40</cx:pt>
          <cx:pt idx="846">35</cx:pt>
          <cx:pt idx="847">34</cx:pt>
          <cx:pt idx="848">35</cx:pt>
          <cx:pt idx="849">43</cx:pt>
          <cx:pt idx="850">32</cx:pt>
          <cx:pt idx="851">56</cx:pt>
          <cx:pt idx="852">29</cx:pt>
          <cx:pt idx="853">19</cx:pt>
          <cx:pt idx="854">45</cx:pt>
          <cx:pt idx="855">37</cx:pt>
          <cx:pt idx="856">20</cx:pt>
          <cx:pt idx="857">44</cx:pt>
          <cx:pt idx="858">53</cx:pt>
          <cx:pt idx="859">29</cx:pt>
          <cx:pt idx="860">22</cx:pt>
          <cx:pt idx="861">46</cx:pt>
          <cx:pt idx="862">44</cx:pt>
          <cx:pt idx="863">33</cx:pt>
          <cx:pt idx="864">41</cx:pt>
          <cx:pt idx="865">30</cx:pt>
          <cx:pt idx="866">40</cx:pt>
          <cx:pt idx="867">50</cx:pt>
          <cx:pt idx="868">28</cx:pt>
          <cx:pt idx="869">46</cx:pt>
          <cx:pt idx="870">35</cx:pt>
          <cx:pt idx="871">24</cx:pt>
          <cx:pt idx="872">33</cx:pt>
          <cx:pt idx="873">36</cx:pt>
          <cx:pt idx="874">30</cx:pt>
          <cx:pt idx="875">44</cx:pt>
          <cx:pt idx="876">20</cx:pt>
          <cx:pt idx="877">46</cx:pt>
          <cx:pt idx="878">42</cx:pt>
          <cx:pt idx="879">60</cx:pt>
          <cx:pt idx="880">32</cx:pt>
          <cx:pt idx="881">32</cx:pt>
          <cx:pt idx="882">36</cx:pt>
          <cx:pt idx="883">33</cx:pt>
          <cx:pt idx="884">40</cx:pt>
          <cx:pt idx="885">25</cx:pt>
          <cx:pt idx="886">30</cx:pt>
          <cx:pt idx="887">42</cx:pt>
          <cx:pt idx="888">35</cx:pt>
          <cx:pt idx="889">27</cx:pt>
          <cx:pt idx="890">54</cx:pt>
          <cx:pt idx="891">44</cx:pt>
          <cx:pt idx="892">19</cx:pt>
          <cx:pt idx="893">29</cx:pt>
          <cx:pt idx="894">54</cx:pt>
          <cx:pt idx="895">31</cx:pt>
          <cx:pt idx="896">31</cx:pt>
          <cx:pt idx="897">59</cx:pt>
          <cx:pt idx="898">43</cx:pt>
          <cx:pt idx="899">49</cx:pt>
          <cx:pt idx="900">36</cx:pt>
          <cx:pt idx="901">48</cx:pt>
          <cx:pt idx="902">27</cx:pt>
          <cx:pt idx="903">29</cx:pt>
          <cx:pt idx="904">48</cx:pt>
          <cx:pt idx="905">29</cx:pt>
          <cx:pt idx="906">34</cx:pt>
          <cx:pt idx="907">44</cx:pt>
          <cx:pt idx="908">33</cx:pt>
          <cx:pt idx="909">19</cx:pt>
          <cx:pt idx="910">23</cx:pt>
          <cx:pt idx="911">25</cx:pt>
          <cx:pt idx="912">26</cx:pt>
          <cx:pt idx="913">45</cx:pt>
          <cx:pt idx="914">55</cx:pt>
          <cx:pt idx="915">21</cx:pt>
          <cx:pt idx="916">46</cx:pt>
          <cx:pt idx="917">34</cx:pt>
          <cx:pt idx="918">51</cx:pt>
          <cx:pt idx="919">59</cx:pt>
          <cx:pt idx="920">34</cx:pt>
          <cx:pt idx="921">28</cx:pt>
          <cx:pt idx="922">44</cx:pt>
          <cx:pt idx="923">34</cx:pt>
          <cx:pt idx="924">35</cx:pt>
          <cx:pt idx="925">42</cx:pt>
          <cx:pt idx="926">43</cx:pt>
          <cx:pt idx="927">36</cx:pt>
          <cx:pt idx="928">44</cx:pt>
          <cx:pt idx="929">28</cx:pt>
          <cx:pt idx="930">51</cx:pt>
          <cx:pt idx="931">30</cx:pt>
          <cx:pt idx="932">29</cx:pt>
          <cx:pt idx="933">28</cx:pt>
          <cx:pt idx="934">25</cx:pt>
          <cx:pt idx="935">32</cx:pt>
          <cx:pt idx="936">45</cx:pt>
          <cx:pt idx="937">39</cx:pt>
          <cx:pt idx="938">58</cx:pt>
          <cx:pt idx="939">32</cx:pt>
          <cx:pt idx="940">39</cx:pt>
          <cx:pt idx="941">30</cx:pt>
          <cx:pt idx="942">36</cx:pt>
          <cx:pt idx="943">46</cx:pt>
          <cx:pt idx="944">28</cx:pt>
          <cx:pt idx="945">50</cx:pt>
          <cx:pt idx="946">40</cx:pt>
          <cx:pt idx="947">52</cx:pt>
          <cx:pt idx="948">30</cx:pt>
          <cx:pt idx="949">39</cx:pt>
          <cx:pt idx="950">31</cx:pt>
          <cx:pt idx="951">41</cx:pt>
          <cx:pt idx="952">31</cx:pt>
          <cx:pt idx="953">44</cx:pt>
          <cx:pt idx="954">42</cx:pt>
          <cx:pt idx="955">55</cx:pt>
          <cx:pt idx="956">56</cx:pt>
          <cx:pt idx="957">40</cx:pt>
          <cx:pt idx="958">34</cx:pt>
          <cx:pt idx="959">40</cx:pt>
          <cx:pt idx="960">41</cx:pt>
          <cx:pt idx="961">35</cx:pt>
          <cx:pt idx="962">51</cx:pt>
          <cx:pt idx="963">38</cx:pt>
          <cx:pt idx="964">34</cx:pt>
          <cx:pt idx="965">25</cx:pt>
          <cx:pt idx="966">58</cx:pt>
          <cx:pt idx="967">40</cx:pt>
          <cx:pt idx="968">36</cx:pt>
          <cx:pt idx="969">48</cx:pt>
          <cx:pt idx="970">27</cx:pt>
          <cx:pt idx="971">51</cx:pt>
          <cx:pt idx="972">18</cx:pt>
          <cx:pt idx="973">35</cx:pt>
          <cx:pt idx="974">27</cx:pt>
          <cx:pt idx="975">55</cx:pt>
          <cx:pt idx="976">56</cx:pt>
          <cx:pt idx="977">34</cx:pt>
          <cx:pt idx="978">40</cx:pt>
          <cx:pt idx="979">34</cx:pt>
          <cx:pt idx="980">31</cx:pt>
          <cx:pt idx="981">35</cx:pt>
          <cx:pt idx="982">38</cx:pt>
          <cx:pt idx="983">34</cx:pt>
          <cx:pt idx="984">28</cx:pt>
          <cx:pt idx="985">31</cx:pt>
          <cx:pt idx="986">39</cx:pt>
          <cx:pt idx="987">51</cx:pt>
          <cx:pt idx="988">41</cx:pt>
          <cx:pt idx="989">37</cx:pt>
          <cx:pt idx="990">33</cx:pt>
          <cx:pt idx="991">32</cx:pt>
          <cx:pt idx="992">39</cx:pt>
          <cx:pt idx="993">25</cx:pt>
          <cx:pt idx="994">52</cx:pt>
          <cx:pt idx="995">43</cx:pt>
          <cx:pt idx="996">27</cx:pt>
          <cx:pt idx="997">27</cx:pt>
          <cx:pt idx="998">26</cx:pt>
          <cx:pt idx="999">42</cx:pt>
          <cx:pt idx="1000">52</cx:pt>
          <cx:pt idx="1001">37</cx:pt>
          <cx:pt idx="1002">35</cx:pt>
          <cx:pt idx="1003">25</cx:pt>
          <cx:pt idx="1004">26</cx:pt>
          <cx:pt idx="1005">29</cx:pt>
          <cx:pt idx="1006">49</cx:pt>
          <cx:pt idx="1007">29</cx:pt>
          <cx:pt idx="1008">54</cx:pt>
          <cx:pt idx="1009">58</cx:pt>
          <cx:pt idx="1010">55</cx:pt>
          <cx:pt idx="1011">36</cx:pt>
          <cx:pt idx="1012">31</cx:pt>
          <cx:pt idx="1013">30</cx:pt>
          <cx:pt idx="1014">31</cx:pt>
          <cx:pt idx="1015">34</cx:pt>
          <cx:pt idx="1016">31</cx:pt>
          <cx:pt idx="1017">27</cx:pt>
          <cx:pt idx="1018">36</cx:pt>
          <cx:pt idx="1019">36</cx:pt>
          <cx:pt idx="1020">47</cx:pt>
          <cx:pt idx="1021">25</cx:pt>
          <cx:pt idx="1022">37</cx:pt>
          <cx:pt idx="1023">56</cx:pt>
          <cx:pt idx="1024">47</cx:pt>
          <cx:pt idx="1025">24</cx:pt>
          <cx:pt idx="1026">32</cx:pt>
          <cx:pt idx="1027">34</cx:pt>
          <cx:pt idx="1028">41</cx:pt>
          <cx:pt idx="1029">40</cx:pt>
          <cx:pt idx="1030">31</cx:pt>
          <cx:pt idx="1031">46</cx:pt>
          <cx:pt idx="1032">39</cx:pt>
          <cx:pt idx="1033">31</cx:pt>
          <cx:pt idx="1034">45</cx:pt>
          <cx:pt idx="1035">31</cx:pt>
          <cx:pt idx="1036">31</cx:pt>
          <cx:pt idx="1037">45</cx:pt>
          <cx:pt idx="1038">48</cx:pt>
          <cx:pt idx="1039">34</cx:pt>
          <cx:pt idx="1040">40</cx:pt>
          <cx:pt idx="1041">28</cx:pt>
          <cx:pt idx="1042">44</cx:pt>
          <cx:pt idx="1043">53</cx:pt>
          <cx:pt idx="1044">49</cx:pt>
          <cx:pt idx="1045">40</cx:pt>
          <cx:pt idx="1046">44</cx:pt>
          <cx:pt idx="1047">33</cx:pt>
          <cx:pt idx="1048">34</cx:pt>
          <cx:pt idx="1049">30</cx:pt>
          <cx:pt idx="1050">42</cx:pt>
          <cx:pt idx="1051">44</cx:pt>
          <cx:pt idx="1052">30</cx:pt>
          <cx:pt idx="1053">57</cx:pt>
          <cx:pt idx="1054">49</cx:pt>
          <cx:pt idx="1055">34</cx:pt>
          <cx:pt idx="1056">28</cx:pt>
          <cx:pt idx="1057">29</cx:pt>
          <cx:pt idx="1058">34</cx:pt>
          <cx:pt idx="1059">35</cx:pt>
          <cx:pt idx="1060">24</cx:pt>
          <cx:pt idx="1061">24</cx:pt>
          <cx:pt idx="1062">44</cx:pt>
          <cx:pt idx="1063">29</cx:pt>
          <cx:pt idx="1064">30</cx:pt>
          <cx:pt idx="1065">55</cx:pt>
          <cx:pt idx="1066">33</cx:pt>
          <cx:pt idx="1067">47</cx:pt>
          <cx:pt idx="1068">28</cx:pt>
          <cx:pt idx="1069">28</cx:pt>
          <cx:pt idx="1070">28</cx:pt>
          <cx:pt idx="1071">49</cx:pt>
          <cx:pt idx="1072">29</cx:pt>
          <cx:pt idx="1073">28</cx:pt>
          <cx:pt idx="1074">33</cx:pt>
          <cx:pt idx="1075">32</cx:pt>
          <cx:pt idx="1076">54</cx:pt>
          <cx:pt idx="1077">29</cx:pt>
          <cx:pt idx="1078">44</cx:pt>
          <cx:pt idx="1079">39</cx:pt>
          <cx:pt idx="1080">46</cx:pt>
          <cx:pt idx="1081">35</cx:pt>
          <cx:pt idx="1082">23</cx:pt>
          <cx:pt idx="1083">40</cx:pt>
          <cx:pt idx="1084">34</cx:pt>
          <cx:pt idx="1085">31</cx:pt>
          <cx:pt idx="1086">50</cx:pt>
          <cx:pt idx="1087">34</cx:pt>
          <cx:pt idx="1088">42</cx:pt>
          <cx:pt idx="1089">37</cx:pt>
          <cx:pt idx="1090">29</cx:pt>
          <cx:pt idx="1091">33</cx:pt>
          <cx:pt idx="1092">45</cx:pt>
          <cx:pt idx="1093">42</cx:pt>
          <cx:pt idx="1094">40</cx:pt>
          <cx:pt idx="1095">33</cx:pt>
          <cx:pt idx="1096">40</cx:pt>
          <cx:pt idx="1097">24</cx:pt>
          <cx:pt idx="1098">40</cx:pt>
          <cx:pt idx="1099">45</cx:pt>
          <cx:pt idx="1100">35</cx:pt>
          <cx:pt idx="1101">32</cx:pt>
          <cx:pt idx="1102">36</cx:pt>
          <cx:pt idx="1103">48</cx:pt>
          <cx:pt idx="1104">29</cx:pt>
          <cx:pt idx="1105">33</cx:pt>
          <cx:pt idx="1106">30</cx:pt>
          <cx:pt idx="1107">38</cx:pt>
          <cx:pt idx="1108">35</cx:pt>
          <cx:pt idx="1109">30</cx:pt>
          <cx:pt idx="1110">35</cx:pt>
          <cx:pt idx="1111">53</cx:pt>
          <cx:pt idx="1112">38</cx:pt>
          <cx:pt idx="1113">32</cx:pt>
          <cx:pt idx="1114">48</cx:pt>
          <cx:pt idx="1115">34</cx:pt>
          <cx:pt idx="1116">55</cx:pt>
          <cx:pt idx="1117">34</cx:pt>
          <cx:pt idx="1118">26</cx:pt>
          <cx:pt idx="1119">38</cx:pt>
          <cx:pt idx="1120">38</cx:pt>
          <cx:pt idx="1121">36</cx:pt>
          <cx:pt idx="1122">29</cx:pt>
          <cx:pt idx="1123">35</cx:pt>
          <cx:pt idx="1124">39</cx:pt>
          <cx:pt idx="1125">29</cx:pt>
          <cx:pt idx="1126">50</cx:pt>
          <cx:pt idx="1127">23</cx:pt>
          <cx:pt idx="1128">36</cx:pt>
          <cx:pt idx="1129">42</cx:pt>
          <cx:pt idx="1130">35</cx:pt>
          <cx:pt idx="1131">34</cx:pt>
          <cx:pt idx="1132">40</cx:pt>
          <cx:pt idx="1133">43</cx:pt>
          <cx:pt idx="1134">35</cx:pt>
          <cx:pt idx="1135">46</cx:pt>
          <cx:pt idx="1136">28</cx:pt>
          <cx:pt idx="1137">22</cx:pt>
          <cx:pt idx="1138">50</cx:pt>
          <cx:pt idx="1139">32</cx:pt>
          <cx:pt idx="1140">44</cx:pt>
          <cx:pt idx="1141">30</cx:pt>
          <cx:pt idx="1142">45</cx:pt>
          <cx:pt idx="1143">45</cx:pt>
          <cx:pt idx="1144">31</cx:pt>
          <cx:pt idx="1145">36</cx:pt>
          <cx:pt idx="1146">34</cx:pt>
          <cx:pt idx="1147">49</cx:pt>
          <cx:pt idx="1148">39</cx:pt>
          <cx:pt idx="1149">27</cx:pt>
          <cx:pt idx="1150">35</cx:pt>
          <cx:pt idx="1151">28</cx:pt>
          <cx:pt idx="1152">21</cx:pt>
          <cx:pt idx="1153">18</cx:pt>
          <cx:pt idx="1154">47</cx:pt>
          <cx:pt idx="1155">39</cx:pt>
          <cx:pt idx="1156">40</cx:pt>
          <cx:pt idx="1157">35</cx:pt>
          <cx:pt idx="1158">37</cx:pt>
          <cx:pt idx="1159">39</cx:pt>
          <cx:pt idx="1160">45</cx:pt>
          <cx:pt idx="1161">38</cx:pt>
          <cx:pt idx="1162">35</cx:pt>
          <cx:pt idx="1163">37</cx:pt>
          <cx:pt idx="1164">40</cx:pt>
          <cx:pt idx="1165">44</cx:pt>
          <cx:pt idx="1166">48</cx:pt>
          <cx:pt idx="1167">35</cx:pt>
          <cx:pt idx="1168">24</cx:pt>
          <cx:pt idx="1169">27</cx:pt>
          <cx:pt idx="1170">27</cx:pt>
          <cx:pt idx="1171">40</cx:pt>
          <cx:pt idx="1172">29</cx:pt>
          <cx:pt idx="1173">36</cx:pt>
          <cx:pt idx="1174">25</cx:pt>
          <cx:pt idx="1175">39</cx:pt>
          <cx:pt idx="1176">49</cx:pt>
          <cx:pt idx="1177">50</cx:pt>
          <cx:pt idx="1178">20</cx:pt>
          <cx:pt idx="1179">34</cx:pt>
          <cx:pt idx="1180">36</cx:pt>
          <cx:pt idx="1181">49</cx:pt>
          <cx:pt idx="1182">36</cx:pt>
          <cx:pt idx="1183">36</cx:pt>
          <cx:pt idx="1184">54</cx:pt>
          <cx:pt idx="1185">43</cx:pt>
          <cx:pt idx="1186">35</cx:pt>
          <cx:pt idx="1187">38</cx:pt>
          <cx:pt idx="1188">29</cx:pt>
          <cx:pt idx="1189">33</cx:pt>
          <cx:pt idx="1190">32</cx:pt>
          <cx:pt idx="1191">31</cx:pt>
          <cx:pt idx="1192">49</cx:pt>
          <cx:pt idx="1193">38</cx:pt>
          <cx:pt idx="1194">47</cx:pt>
          <cx:pt idx="1195">49</cx:pt>
          <cx:pt idx="1196">41</cx:pt>
          <cx:pt idx="1197">20</cx:pt>
          <cx:pt idx="1198">33</cx:pt>
          <cx:pt idx="1199">36</cx:pt>
          <cx:pt idx="1200">44</cx:pt>
          <cx:pt idx="1201">23</cx:pt>
          <cx:pt idx="1202">38</cx:pt>
          <cx:pt idx="1203">53</cx:pt>
          <cx:pt idx="1204">48</cx:pt>
          <cx:pt idx="1205">32</cx:pt>
          <cx:pt idx="1206">26</cx:pt>
          <cx:pt idx="1207">55</cx:pt>
          <cx:pt idx="1208">34</cx:pt>
          <cx:pt idx="1209">60</cx:pt>
          <cx:pt idx="1210">33</cx:pt>
          <cx:pt idx="1211">37</cx:pt>
          <cx:pt idx="1212">34</cx:pt>
          <cx:pt idx="1213">23</cx:pt>
          <cx:pt idx="1214">44</cx:pt>
          <cx:pt idx="1215">35</cx:pt>
          <cx:pt idx="1216">43</cx:pt>
          <cx:pt idx="1217">24</cx:pt>
          <cx:pt idx="1218">41</cx:pt>
          <cx:pt idx="1219">29</cx:pt>
          <cx:pt idx="1220">36</cx:pt>
          <cx:pt idx="1221">45</cx:pt>
          <cx:pt idx="1222">24</cx:pt>
          <cx:pt idx="1223">47</cx:pt>
          <cx:pt idx="1224">26</cx:pt>
          <cx:pt idx="1225">45</cx:pt>
          <cx:pt idx="1226">32</cx:pt>
          <cx:pt idx="1227">31</cx:pt>
          <cx:pt idx="1228">41</cx:pt>
          <cx:pt idx="1229">40</cx:pt>
          <cx:pt idx="1230">24</cx:pt>
          <cx:pt idx="1231">46</cx:pt>
          <cx:pt idx="1232">35</cx:pt>
          <cx:pt idx="1233">30</cx:pt>
          <cx:pt idx="1234">47</cx:pt>
          <cx:pt idx="1235">46</cx:pt>
          <cx:pt idx="1236">36</cx:pt>
          <cx:pt idx="1237">32</cx:pt>
          <cx:pt idx="1238">23</cx:pt>
          <cx:pt idx="1239">31</cx:pt>
          <cx:pt idx="1240">39</cx:pt>
          <cx:pt idx="1241">32</cx:pt>
          <cx:pt idx="1242">40</cx:pt>
          <cx:pt idx="1243">45</cx:pt>
          <cx:pt idx="1244">30</cx:pt>
          <cx:pt idx="1245">24</cx:pt>
          <cx:pt idx="1246">30</cx:pt>
          <cx:pt idx="1247">31</cx:pt>
          <cx:pt idx="1248">27</cx:pt>
          <cx:pt idx="1249">29</cx:pt>
          <cx:pt idx="1250">29</cx:pt>
          <cx:pt idx="1251">30</cx:pt>
          <cx:pt idx="1252">34</cx:pt>
          <cx:pt idx="1253">33</cx:pt>
          <cx:pt idx="1254">49</cx:pt>
          <cx:pt idx="1255">33</cx:pt>
          <cx:pt idx="1256">38</cx:pt>
          <cx:pt idx="1257">31</cx:pt>
          <cx:pt idx="1258">29</cx:pt>
          <cx:pt idx="1259">30</cx:pt>
          <cx:pt idx="1260">32</cx:pt>
          <cx:pt idx="1261">38</cx:pt>
          <cx:pt idx="1262">43</cx:pt>
          <cx:pt idx="1263">42</cx:pt>
          <cx:pt idx="1264">55</cx:pt>
          <cx:pt idx="1265">33</cx:pt>
          <cx:pt idx="1266">41</cx:pt>
          <cx:pt idx="1267">34</cx:pt>
          <cx:pt idx="1268">53</cx:pt>
          <cx:pt idx="1269">43</cx:pt>
          <cx:pt idx="1270">34</cx:pt>
          <cx:pt idx="1271">21</cx:pt>
          <cx:pt idx="1272">38</cx:pt>
          <cx:pt idx="1273">22</cx:pt>
          <cx:pt idx="1274">31</cx:pt>
          <cx:pt idx="1275">51</cx:pt>
          <cx:pt idx="1276">37</cx:pt>
          <cx:pt idx="1277">46</cx:pt>
          <cx:pt idx="1278">36</cx:pt>
          <cx:pt idx="1279">44</cx:pt>
          <cx:pt idx="1280">37</cx:pt>
          <cx:pt idx="1281">35</cx:pt>
          <cx:pt idx="1282">33</cx:pt>
          <cx:pt idx="1283">28</cx:pt>
          <cx:pt idx="1284">39</cx:pt>
          <cx:pt idx="1285">46</cx:pt>
          <cx:pt idx="1286">40</cx:pt>
          <cx:pt idx="1287">42</cx:pt>
          <cx:pt idx="1288">35</cx:pt>
          <cx:pt idx="1289">38</cx:pt>
          <cx:pt idx="1290">34</cx:pt>
          <cx:pt idx="1291">37</cx:pt>
          <cx:pt idx="1292">39</cx:pt>
          <cx:pt idx="1293">43</cx:pt>
          <cx:pt idx="1294">41</cx:pt>
          <cx:pt idx="1295">41</cx:pt>
          <cx:pt idx="1296">30</cx:pt>
          <cx:pt idx="1297">26</cx:pt>
          <cx:pt idx="1298">46</cx:pt>
          <cx:pt idx="1299">40</cx:pt>
          <cx:pt idx="1300">34</cx:pt>
          <cx:pt idx="1301">58</cx:pt>
          <cx:pt idx="1302">35</cx:pt>
          <cx:pt idx="1303">47</cx:pt>
          <cx:pt idx="1304">40</cx:pt>
          <cx:pt idx="1305">54</cx:pt>
          <cx:pt idx="1306">31</cx:pt>
          <cx:pt idx="1307">28</cx:pt>
          <cx:pt idx="1308">38</cx:pt>
          <cx:pt idx="1309">26</cx:pt>
          <cx:pt idx="1310">58</cx:pt>
          <cx:pt idx="1311">18</cx:pt>
          <cx:pt idx="1312">31</cx:pt>
          <cx:pt idx="1313">29</cx:pt>
          <cx:pt idx="1314">45</cx:pt>
          <cx:pt idx="1315">36</cx:pt>
          <cx:pt idx="1316">43</cx:pt>
          <cx:pt idx="1317">27</cx:pt>
          <cx:pt idx="1318">29</cx:pt>
          <cx:pt idx="1319">32</cx:pt>
          <cx:pt idx="1320">42</cx:pt>
          <cx:pt idx="1321">47</cx:pt>
          <cx:pt idx="1322">46</cx:pt>
          <cx:pt idx="1323">28</cx:pt>
          <cx:pt idx="1324">29</cx:pt>
          <cx:pt idx="1325">42</cx:pt>
          <cx:pt idx="1326">32</cx:pt>
          <cx:pt idx="1327">46</cx:pt>
          <cx:pt idx="1328">27</cx:pt>
          <cx:pt idx="1329">29</cx:pt>
          <cx:pt idx="1330">43</cx:pt>
          <cx:pt idx="1331">48</cx:pt>
          <cx:pt idx="1332">29</cx:pt>
          <cx:pt idx="1333">46</cx:pt>
          <cx:pt idx="1334">27</cx:pt>
          <cx:pt idx="1335">39</cx:pt>
          <cx:pt idx="1336">55</cx:pt>
          <cx:pt idx="1337">28</cx:pt>
          <cx:pt idx="1338">30</cx:pt>
          <cx:pt idx="1339">22</cx:pt>
          <cx:pt idx="1340">36</cx:pt>
          <cx:pt idx="1341">31</cx:pt>
          <cx:pt idx="1342">34</cx:pt>
          <cx:pt idx="1343">29</cx:pt>
          <cx:pt idx="1344">37</cx:pt>
          <cx:pt idx="1345">35</cx:pt>
          <cx:pt idx="1346">45</cx:pt>
          <cx:pt idx="1347">36</cx:pt>
          <cx:pt idx="1348">40</cx:pt>
          <cx:pt idx="1349">26</cx:pt>
          <cx:pt idx="1350">27</cx:pt>
          <cx:pt idx="1351">48</cx:pt>
          <cx:pt idx="1352">44</cx:pt>
          <cx:pt idx="1353">34</cx:pt>
          <cx:pt idx="1354">56</cx:pt>
          <cx:pt idx="1355">36</cx:pt>
          <cx:pt idx="1356">41</cx:pt>
          <cx:pt idx="1357">42</cx:pt>
          <cx:pt idx="1358">31</cx:pt>
          <cx:pt idx="1359">34</cx:pt>
          <cx:pt idx="1360">31</cx:pt>
          <cx:pt idx="1361">26</cx:pt>
          <cx:pt idx="1362">45</cx:pt>
          <cx:pt idx="1363">33</cx:pt>
          <cx:pt idx="1364">28</cx:pt>
          <cx:pt idx="1365">29</cx:pt>
          <cx:pt idx="1366">39</cx:pt>
          <cx:pt idx="1367">27</cx:pt>
          <cx:pt idx="1368">34</cx:pt>
          <cx:pt idx="1369">28</cx:pt>
          <cx:pt idx="1370">47</cx:pt>
          <cx:pt idx="1371">56</cx:pt>
          <cx:pt idx="1372">39</cx:pt>
          <cx:pt idx="1373">38</cx:pt>
          <cx:pt idx="1374">58</cx:pt>
          <cx:pt idx="1375">32</cx:pt>
          <cx:pt idx="1376">38</cx:pt>
          <cx:pt idx="1377">49</cx:pt>
          <cx:pt idx="1378">42</cx:pt>
          <cx:pt idx="1379">27</cx:pt>
          <cx:pt idx="1380">35</cx:pt>
          <cx:pt idx="1381">28</cx:pt>
          <cx:pt idx="1382">31</cx:pt>
          <cx:pt idx="1383">36</cx:pt>
          <cx:pt idx="1384">34</cx:pt>
          <cx:pt idx="1385">34</cx:pt>
          <cx:pt idx="1386">26</cx:pt>
          <cx:pt idx="1387">29</cx:pt>
          <cx:pt idx="1388">32</cx:pt>
          <cx:pt idx="1389">31</cx:pt>
          <cx:pt idx="1390">28</cx:pt>
          <cx:pt idx="1391">38</cx:pt>
          <cx:pt idx="1392">35</cx:pt>
          <cx:pt idx="1393">27</cx:pt>
          <cx:pt idx="1394">32</cx:pt>
          <cx:pt idx="1395">31</cx:pt>
          <cx:pt idx="1396">53</cx:pt>
          <cx:pt idx="1397">54</cx:pt>
          <cx:pt idx="1398">33</cx:pt>
          <cx:pt idx="1399">43</cx:pt>
          <cx:pt idx="1400">38</cx:pt>
          <cx:pt idx="1401">55</cx:pt>
          <cx:pt idx="1402">31</cx:pt>
          <cx:pt idx="1403">39</cx:pt>
          <cx:pt idx="1404">42</cx:pt>
          <cx:pt idx="1405">31</cx:pt>
          <cx:pt idx="1406">54</cx:pt>
          <cx:pt idx="1407">24</cx:pt>
          <cx:pt idx="1408">23</cx:pt>
          <cx:pt idx="1409">40</cx:pt>
          <cx:pt idx="1410">40</cx:pt>
          <cx:pt idx="1411">25</cx:pt>
          <cx:pt idx="1412">30</cx:pt>
          <cx:pt idx="1413">25</cx:pt>
          <cx:pt idx="1414">47</cx:pt>
          <cx:pt idx="1415">33</cx:pt>
          <cx:pt idx="1416">38</cx:pt>
          <cx:pt idx="1417">31</cx:pt>
          <cx:pt idx="1418">38</cx:pt>
          <cx:pt idx="1419">42</cx:pt>
          <cx:pt idx="1420">41</cx:pt>
          <cx:pt idx="1421">47</cx:pt>
          <cx:pt idx="1422">35</cx:pt>
          <cx:pt idx="1423">22</cx:pt>
          <cx:pt idx="1424">35</cx:pt>
          <cx:pt idx="1425">33</cx:pt>
          <cx:pt idx="1426">32</cx:pt>
          <cx:pt idx="1427">40</cx:pt>
          <cx:pt idx="1428">32</cx:pt>
          <cx:pt idx="1429">39</cx:pt>
          <cx:pt idx="1430">38</cx:pt>
          <cx:pt idx="1431">32</cx:pt>
          <cx:pt idx="1432">37</cx:pt>
          <cx:pt idx="1433">25</cx:pt>
          <cx:pt idx="1434">52</cx:pt>
          <cx:pt idx="1435">44</cx:pt>
          <cx:pt idx="1436">21</cx:pt>
          <cx:pt idx="1437">39</cx:pt>
          <cx:pt idx="1438">23</cx:pt>
          <cx:pt idx="1439">36</cx:pt>
          <cx:pt idx="1440">36</cx:pt>
          <cx:pt idx="1441">56</cx:pt>
          <cx:pt idx="1442">29</cx:pt>
          <cx:pt idx="1443">42</cx:pt>
          <cx:pt idx="1444">56</cx:pt>
          <cx:pt idx="1445">41</cx:pt>
          <cx:pt idx="1446">34</cx:pt>
          <cx:pt idx="1447">36</cx:pt>
          <cx:pt idx="1448">41</cx:pt>
          <cx:pt idx="1449">32</cx:pt>
          <cx:pt idx="1450">35</cx:pt>
          <cx:pt idx="1451">38</cx:pt>
          <cx:pt idx="1452">50</cx:pt>
          <cx:pt idx="1453">36</cx:pt>
          <cx:pt idx="1454">45</cx:pt>
          <cx:pt idx="1455">40</cx:pt>
          <cx:pt idx="1456">35</cx:pt>
          <cx:pt idx="1457">40</cx:pt>
          <cx:pt idx="1458">35</cx:pt>
          <cx:pt idx="1459">29</cx:pt>
          <cx:pt idx="1460">29</cx:pt>
          <cx:pt idx="1461">50</cx:pt>
          <cx:pt idx="1462">39</cx:pt>
          <cx:pt idx="1463">31</cx:pt>
          <cx:pt idx="1464">26</cx:pt>
          <cx:pt idx="1465">36</cx:pt>
          <cx:pt idx="1466">39</cx:pt>
          <cx:pt idx="1467">27</cx:pt>
          <cx:pt idx="1468">49</cx:pt>
          <cx:pt idx="1469">34</cx:pt>
        </cx:lvl>
      </cx:numDim>
    </cx:data>
  </cx:chartData>
  <cx:chart>
    <cx:title pos="t" align="ctr" overlay="0">
      <cx:tx>
        <cx:txData>
          <cx:v>Distribution of Age</cx:v>
        </cx:txData>
      </cx:tx>
      <cx:txPr>
        <a:bodyPr spcFirstLastPara="1" vertOverflow="ellipsis" horzOverflow="overflow" wrap="square" lIns="0" tIns="0" rIns="0" bIns="0" anchor="ctr" anchorCtr="1"/>
        <a:lstStyle/>
        <a:p>
          <a:pPr algn="ctr" rtl="0">
            <a:defRPr sz="1100">
              <a:latin typeface="Tenorite" panose="00000500000000000000" pitchFamily="2" charset="0"/>
              <a:ea typeface="Tenorite" panose="00000500000000000000" pitchFamily="2" charset="0"/>
              <a:cs typeface="Tenorite" panose="00000500000000000000" pitchFamily="2" charset="0"/>
            </a:defRPr>
          </a:pPr>
          <a:r>
            <a:rPr lang="en-US" sz="1200" b="0" i="0" u="none" strike="noStrike" baseline="0">
              <a:solidFill>
                <a:prstClr val="black">
                  <a:lumMod val="65000"/>
                  <a:lumOff val="35000"/>
                </a:prstClr>
              </a:solidFill>
              <a:effectLst/>
              <a:latin typeface="Tenorite" panose="00000500000000000000" pitchFamily="2" charset="0"/>
            </a:rPr>
            <a:t>Distribution of Age</a:t>
          </a:r>
        </a:p>
      </cx:txPr>
    </cx:title>
    <cx:plotArea>
      <cx:plotAreaRegion>
        <cx:series layoutId="clusteredColumn" uniqueId="{04A610C9-0FE9-42B4-8D40-87AC5ABFFC85}">
          <cx:spPr>
            <a:solidFill>
              <a:srgbClr val="3B9EB1"/>
            </a:solidFill>
          </cx:spPr>
          <cx:dataId val="0"/>
          <cx:layoutPr>
            <cx:binning intervalClosed="r">
              <cx:binSize val="5"/>
            </cx:binning>
          </cx:layoutPr>
        </cx:series>
      </cx:plotAreaRegion>
      <cx:axis id="0">
        <cx:catScaling gapWidth="0.330000013"/>
        <cx:title>
          <cx:tx>
            <cx:txData>
              <cx:v>Age</cx:v>
            </cx:txData>
          </cx:tx>
          <cx:txPr>
            <a:bodyPr vertOverflow="overflow" horzOverflow="overflow" wrap="square" lIns="0" tIns="0" rIns="0" bIns="0"/>
            <a:lstStyle/>
            <a:p>
              <a:pPr algn="ctr" rtl="0">
                <a:defRPr sz="1000" b="0" i="0">
                  <a:solidFill>
                    <a:srgbClr val="595959"/>
                  </a:solidFill>
                  <a:latin typeface="Tenorite" panose="00000500000000000000" pitchFamily="2" charset="0"/>
                  <a:ea typeface="Tenorite" panose="00000500000000000000" pitchFamily="2" charset="0"/>
                  <a:cs typeface="Tenorite" panose="00000500000000000000" pitchFamily="2" charset="0"/>
                </a:defRPr>
              </a:pPr>
              <a:r>
                <a:rPr lang="pt-PT" sz="1000">
                  <a:latin typeface="Tenorite" panose="00000500000000000000" pitchFamily="2" charset="0"/>
                </a:rPr>
                <a:t>Age</a:t>
              </a:r>
            </a:p>
          </cx:txPr>
        </cx:title>
        <cx:tickLabels/>
        <cx:txPr>
          <a:bodyPr spcFirstLastPara="1" vertOverflow="ellipsis" horzOverflow="overflow" wrap="square" lIns="0" tIns="0" rIns="0" bIns="0" anchor="ctr" anchorCtr="1"/>
          <a:lstStyle/>
          <a:p>
            <a:pPr algn="ctr" rtl="0">
              <a:defRPr sz="800">
                <a:latin typeface="Tenorite" panose="00000500000000000000" pitchFamily="2" charset="0"/>
                <a:ea typeface="Tenorite" panose="00000500000000000000" pitchFamily="2" charset="0"/>
                <a:cs typeface="Tenorite" panose="00000500000000000000" pitchFamily="2" charset="0"/>
              </a:defRPr>
            </a:pPr>
            <a:endParaRPr lang="en-US" sz="800" b="0" i="0" u="none" strike="noStrike" baseline="0">
              <a:solidFill>
                <a:prstClr val="black">
                  <a:lumMod val="65000"/>
                  <a:lumOff val="35000"/>
                </a:prstClr>
              </a:solidFill>
              <a:latin typeface="Tenorite" panose="00000500000000000000" pitchFamily="2" charset="0"/>
            </a:endParaRPr>
          </a:p>
        </cx:txPr>
      </cx:axis>
      <cx:axis id="1">
        <cx:valScaling/>
        <cx:title>
          <cx:tx>
            <cx:txData>
              <cx:v>Frequency</cx:v>
            </cx:txData>
          </cx:tx>
          <cx:txPr>
            <a:bodyPr vertOverflow="overflow" horzOverflow="overflow" wrap="square" lIns="0" tIns="0" rIns="0" bIns="0"/>
            <a:lstStyle/>
            <a:p>
              <a:pPr algn="ctr" rtl="0">
                <a:defRPr sz="900" b="0" i="0">
                  <a:solidFill>
                    <a:srgbClr val="595959"/>
                  </a:solidFill>
                  <a:latin typeface="Tenorite" panose="00000500000000000000" pitchFamily="2" charset="0"/>
                  <a:ea typeface="Tenorite" panose="00000500000000000000" pitchFamily="2" charset="0"/>
                  <a:cs typeface="Tenorite" panose="00000500000000000000" pitchFamily="2" charset="0"/>
                </a:defRPr>
              </a:pPr>
              <a:r>
                <a:rPr lang="pt-PT">
                  <a:latin typeface="Tenorite" panose="00000500000000000000" pitchFamily="2" charset="0"/>
                </a:rPr>
                <a:t>Frequency</a:t>
              </a:r>
            </a:p>
          </cx:txPr>
        </cx:title>
        <cx:tickLabels/>
        <cx:txPr>
          <a:bodyPr vertOverflow="overflow" horzOverflow="overflow" wrap="square" lIns="0" tIns="0" rIns="0" bIns="0"/>
          <a:lstStyle/>
          <a:p>
            <a:pPr algn="ctr" rtl="0">
              <a:defRPr sz="800" b="0" i="0">
                <a:solidFill>
                  <a:srgbClr val="595959"/>
                </a:solidFill>
                <a:latin typeface="Tenorite" panose="00000500000000000000" pitchFamily="2" charset="0"/>
                <a:ea typeface="Tenorite" panose="00000500000000000000" pitchFamily="2" charset="0"/>
                <a:cs typeface="Tenorite" panose="00000500000000000000" pitchFamily="2" charset="0"/>
              </a:defRPr>
            </a:pPr>
            <a:endParaRPr lang="pt-PT" sz="800">
              <a:latin typeface="Tenorite" panose="00000500000000000000" pitchFamily="2" charset="0"/>
            </a:endParaRPr>
          </a:p>
        </cx:txPr>
      </cx:axis>
    </cx:plotArea>
  </cx:chart>
  <cx:spPr>
    <a:noFill/>
    <a:ln>
      <a:solidFill>
        <a:schemeClr val="bg1">
          <a:lumMod val="95000"/>
        </a:schemeClr>
      </a:solidFill>
    </a:ln>
  </cx:spPr>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HR_DS!$F$2:$F$1471</cx:f>
        <cx:lvl ptCount="1470" formatCode="General">
          <cx:pt idx="0">1</cx:pt>
          <cx:pt idx="1">8</cx:pt>
          <cx:pt idx="2">2</cx:pt>
          <cx:pt idx="3">3</cx:pt>
          <cx:pt idx="4">2</cx:pt>
          <cx:pt idx="5">2</cx:pt>
          <cx:pt idx="6">3</cx:pt>
          <cx:pt idx="7">24</cx:pt>
          <cx:pt idx="8">23</cx:pt>
          <cx:pt idx="9">27</cx:pt>
          <cx:pt idx="10">16</cx:pt>
          <cx:pt idx="11">15</cx:pt>
          <cx:pt idx="12">26</cx:pt>
          <cx:pt idx="13">19</cx:pt>
          <cx:pt idx="14">24</cx:pt>
          <cx:pt idx="15">21</cx:pt>
          <cx:pt idx="16">5</cx:pt>
          <cx:pt idx="17">16</cx:pt>
          <cx:pt idx="18">2</cx:pt>
          <cx:pt idx="19">2</cx:pt>
          <cx:pt idx="20">11</cx:pt>
          <cx:pt idx="21">9</cx:pt>
          <cx:pt idx="22">7</cx:pt>
          <cx:pt idx="23">15</cx:pt>
          <cx:pt idx="24">6</cx:pt>
          <cx:pt idx="25">5</cx:pt>
          <cx:pt idx="26">16</cx:pt>
          <cx:pt idx="27">8</cx:pt>
          <cx:pt idx="28">7</cx:pt>
          <cx:pt idx="29">2</cx:pt>
          <cx:pt idx="30">2</cx:pt>
          <cx:pt idx="31">10</cx:pt>
          <cx:pt idx="32">9</cx:pt>
          <cx:pt idx="33">5</cx:pt>
          <cx:pt idx="34">1</cx:pt>
          <cx:pt idx="35">2</cx:pt>
          <cx:pt idx="36">3</cx:pt>
          <cx:pt idx="37">2</cx:pt>
          <cx:pt idx="38">5</cx:pt>
          <cx:pt idx="39">1</cx:pt>
          <cx:pt idx="40">4</cx:pt>
          <cx:pt idx="41">2</cx:pt>
          <cx:pt idx="42">25</cx:pt>
          <cx:pt idx="43">8</cx:pt>
          <cx:pt idx="44">1</cx:pt>
          <cx:pt idx="45">12</cx:pt>
          <cx:pt idx="46">23</cx:pt>
          <cx:pt idx="47">19</cx:pt>
          <cx:pt idx="48">5</cx:pt>
          <cx:pt idx="49">8</cx:pt>
          <cx:pt idx="50">1</cx:pt>
          <cx:pt idx="51">5</cx:pt>
          <cx:pt idx="52">1</cx:pt>
          <cx:pt idx="53">11</cx:pt>
          <cx:pt idx="54">23</cx:pt>
          <cx:pt idx="55">1</cx:pt>
          <cx:pt idx="56">18</cx:pt>
          <cx:pt idx="57">23</cx:pt>
          <cx:pt idx="58">7</cx:pt>
          <cx:pt idx="59">1</cx:pt>
          <cx:pt idx="60">1</cx:pt>
          <cx:pt idx="61">29</cx:pt>
          <cx:pt idx="62">7</cx:pt>
          <cx:pt idx="63">25</cx:pt>
          <cx:pt idx="64">8</cx:pt>
          <cx:pt idx="65">8</cx:pt>
          <cx:pt idx="66">11</cx:pt>
          <cx:pt idx="67">7</cx:pt>
          <cx:pt idx="68">1</cx:pt>
          <cx:pt idx="69">9</cx:pt>
          <cx:pt idx="70">1</cx:pt>
          <cx:pt idx="71">2</cx:pt>
          <cx:pt idx="72">1</cx:pt>
          <cx:pt idx="73">1</cx:pt>
          <cx:pt idx="74">6</cx:pt>
          <cx:pt idx="75">8</cx:pt>
          <cx:pt idx="76">1</cx:pt>
          <cx:pt idx="77">6</cx:pt>
          <cx:pt idx="78">7</cx:pt>
          <cx:pt idx="79">5</cx:pt>
          <cx:pt idx="80">1</cx:pt>
          <cx:pt idx="81">1</cx:pt>
          <cx:pt idx="82">1</cx:pt>
          <cx:pt idx="83">6</cx:pt>
          <cx:pt idx="84">1</cx:pt>
          <cx:pt idx="85">7</cx:pt>
          <cx:pt idx="86">2</cx:pt>
          <cx:pt idx="87">9</cx:pt>
          <cx:pt idx="88">2</cx:pt>
          <cx:pt idx="89">9</cx:pt>
          <cx:pt idx="90">1</cx:pt>
          <cx:pt idx="91">21</cx:pt>
          <cx:pt idx="92">4</cx:pt>
          <cx:pt idx="93">1</cx:pt>
          <cx:pt idx="94">6</cx:pt>
          <cx:pt idx="95">2</cx:pt>
          <cx:pt idx="96">3</cx:pt>
          <cx:pt idx="97">4</cx:pt>
          <cx:pt idx="98">10</cx:pt>
          <cx:pt idx="99">23</cx:pt>
          <cx:pt idx="100">6</cx:pt>
          <cx:pt idx="101">1</cx:pt>
          <cx:pt idx="102">6</cx:pt>
          <cx:pt idx="103">6</cx:pt>
          <cx:pt idx="104">2</cx:pt>
          <cx:pt idx="105">2</cx:pt>
          <cx:pt idx="106">1</cx:pt>
          <cx:pt idx="107">5</cx:pt>
          <cx:pt idx="108">7</cx:pt>
          <cx:pt idx="109">15</cx:pt>
          <cx:pt idx="110">1</cx:pt>
          <cx:pt idx="111">7</cx:pt>
          <cx:pt idx="112">26</cx:pt>
          <cx:pt idx="113">18</cx:pt>
          <cx:pt idx="114">6</cx:pt>
          <cx:pt idx="115">3</cx:pt>
          <cx:pt idx="116">5</cx:pt>
          <cx:pt idx="117">11</cx:pt>
          <cx:pt idx="118">3</cx:pt>
          <cx:pt idx="119">26</cx:pt>
          <cx:pt idx="120">23</cx:pt>
          <cx:pt idx="121">22</cx:pt>
          <cx:pt idx="122">14</cx:pt>
          <cx:pt idx="123">6</cx:pt>
          <cx:pt idx="124">6</cx:pt>
          <cx:pt idx="125">6</cx:pt>
          <cx:pt idx="126">23</cx:pt>
          <cx:pt idx="127">22</cx:pt>
          <cx:pt idx="128">2</cx:pt>
          <cx:pt idx="129">20</cx:pt>
          <cx:pt idx="130">28</cx:pt>
          <cx:pt idx="131">12</cx:pt>
          <cx:pt idx="132">20</cx:pt>
          <cx:pt idx="133">9</cx:pt>
          <cx:pt idx="134">25</cx:pt>
          <cx:pt idx="135">6</cx:pt>
          <cx:pt idx="136">8</cx:pt>
          <cx:pt idx="137">4</cx:pt>
          <cx:pt idx="138">28</cx:pt>
          <cx:pt idx="139">9</cx:pt>
          <cx:pt idx="140">9</cx:pt>
          <cx:pt idx="141">29</cx:pt>
          <cx:pt idx="142">3</cx:pt>
          <cx:pt idx="143">18</cx:pt>
          <cx:pt idx="144">9</cx:pt>
          <cx:pt idx="145">5</cx:pt>
          <cx:pt idx="146">2</cx:pt>
          <cx:pt idx="147">10</cx:pt>
          <cx:pt idx="148">9</cx:pt>
          <cx:pt idx="149">3</cx:pt>
          <cx:pt idx="150">26</cx:pt>
          <cx:pt idx="151">1</cx:pt>
          <cx:pt idx="152">6</cx:pt>
          <cx:pt idx="153">9</cx:pt>
          <cx:pt idx="154">8</cx:pt>
          <cx:pt idx="155">1</cx:pt>
          <cx:pt idx="156">7</cx:pt>
          <cx:pt idx="157">9</cx:pt>
          <cx:pt idx="158">4</cx:pt>
          <cx:pt idx="159">2</cx:pt>
          <cx:pt idx="160">19</cx:pt>
          <cx:pt idx="161">9</cx:pt>
          <cx:pt idx="162">21</cx:pt>
          <cx:pt idx="163">24</cx:pt>
          <cx:pt idx="164">3</cx:pt>
          <cx:pt idx="165">11</cx:pt>
          <cx:pt idx="166">14</cx:pt>
          <cx:pt idx="167">5</cx:pt>
          <cx:pt idx="168">1</cx:pt>
          <cx:pt idx="169">6</cx:pt>
          <cx:pt idx="170">17</cx:pt>
          <cx:pt idx="171">1</cx:pt>
          <cx:pt idx="172">3</cx:pt>
          <cx:pt idx="173">9</cx:pt>
          <cx:pt idx="174">4</cx:pt>
          <cx:pt idx="175">8</cx:pt>
          <cx:pt idx="176">2</cx:pt>
          <cx:pt idx="177">2</cx:pt>
          <cx:pt idx="178">1</cx:pt>
          <cx:pt idx="179">9</cx:pt>
          <cx:pt idx="180">12</cx:pt>
          <cx:pt idx="181">27</cx:pt>
          <cx:pt idx="182">20</cx:pt>
          <cx:pt idx="183">1</cx:pt>
          <cx:pt idx="184">13</cx:pt>
          <cx:pt idx="185">14</cx:pt>
          <cx:pt idx="186">4</cx:pt>
          <cx:pt idx="187">14</cx:pt>
          <cx:pt idx="188">2</cx:pt>
          <cx:pt idx="189">3</cx:pt>
          <cx:pt idx="190">1</cx:pt>
          <cx:pt idx="191">9</cx:pt>
          <cx:pt idx="192">23</cx:pt>
          <cx:pt idx="193">7</cx:pt>
          <cx:pt idx="194">2</cx:pt>
          <cx:pt idx="195">21</cx:pt>
          <cx:pt idx="196">2</cx:pt>
          <cx:pt idx="197">21</cx:pt>
          <cx:pt idx="198">2</cx:pt>
          <cx:pt idx="199">29</cx:pt>
          <cx:pt idx="200">1</cx:pt>
          <cx:pt idx="201">18</cx:pt>
          <cx:pt idx="202">10</cx:pt>
          <cx:pt idx="203">19</cx:pt>
          <cx:pt idx="204">29</cx:pt>
          <cx:pt idx="205">27</cx:pt>
          <cx:pt idx="206">5</cx:pt>
          <cx:pt idx="207">18</cx:pt>
          <cx:pt idx="208">9</cx:pt>
          <cx:pt idx="209">1</cx:pt>
          <cx:pt idx="210">4</cx:pt>
          <cx:pt idx="211">1</cx:pt>
          <cx:pt idx="212">20</cx:pt>
          <cx:pt idx="213">8</cx:pt>
          <cx:pt idx="214">3</cx:pt>
          <cx:pt idx="215">6</cx:pt>
          <cx:pt idx="216">26</cx:pt>
          <cx:pt idx="217">1</cx:pt>
          <cx:pt idx="218">6</cx:pt>
          <cx:pt idx="219">3</cx:pt>
          <cx:pt idx="220">5</cx:pt>
          <cx:pt idx="221">4</cx:pt>
          <cx:pt idx="222">11</cx:pt>
          <cx:pt idx="223">3</cx:pt>
          <cx:pt idx="224">1</cx:pt>
          <cx:pt idx="225">3</cx:pt>
          <cx:pt idx="226">4</cx:pt>
          <cx:pt idx="227">1</cx:pt>
          <cx:pt idx="228">1</cx:pt>
          <cx:pt idx="229">18</cx:pt>
          <cx:pt idx="230">2</cx:pt>
          <cx:pt idx="231">4</cx:pt>
          <cx:pt idx="232">6</cx:pt>
          <cx:pt idx="233">1</cx:pt>
          <cx:pt idx="234">14</cx:pt>
          <cx:pt idx="235">16</cx:pt>
          <cx:pt idx="236">2</cx:pt>
          <cx:pt idx="237">2</cx:pt>
          <cx:pt idx="238">4</cx:pt>
          <cx:pt idx="239">1</cx:pt>
          <cx:pt idx="240">1</cx:pt>
          <cx:pt idx="241">26</cx:pt>
          <cx:pt idx="242">19</cx:pt>
          <cx:pt idx="243">24</cx:pt>
          <cx:pt idx="244">1</cx:pt>
          <cx:pt idx="245">3</cx:pt>
          <cx:pt idx="246">5</cx:pt>
          <cx:pt idx="247">2</cx:pt>
          <cx:pt idx="248">1</cx:pt>
          <cx:pt idx="249">7</cx:pt>
          <cx:pt idx="250">10</cx:pt>
          <cx:pt idx="251">2</cx:pt>
          <cx:pt idx="252">15</cx:pt>
          <cx:pt idx="253">17</cx:pt>
          <cx:pt idx="254">20</cx:pt>
          <cx:pt idx="255">1</cx:pt>
          <cx:pt idx="256">2</cx:pt>
          <cx:pt idx="257">2</cx:pt>
          <cx:pt idx="258">1</cx:pt>
          <cx:pt idx="259">29</cx:pt>
          <cx:pt idx="260">7</cx:pt>
          <cx:pt idx="261">2</cx:pt>
          <cx:pt idx="262">2</cx:pt>
          <cx:pt idx="263">2</cx:pt>
          <cx:pt idx="264">2</cx:pt>
          <cx:pt idx="265">2</cx:pt>
          <cx:pt idx="266">23</cx:pt>
          <cx:pt idx="267">5</cx:pt>
          <cx:pt idx="268">20</cx:pt>
          <cx:pt idx="269">6</cx:pt>
          <cx:pt idx="270">1</cx:pt>
          <cx:pt idx="271">29</cx:pt>
          <cx:pt idx="272">9</cx:pt>
          <cx:pt idx="273">6</cx:pt>
          <cx:pt idx="274">3</cx:pt>
          <cx:pt idx="275">1</cx:pt>
          <cx:pt idx="276">22</cx:pt>
          <cx:pt idx="277">7</cx:pt>
          <cx:pt idx="278">1</cx:pt>
          <cx:pt idx="279">4</cx:pt>
          <cx:pt idx="280">3</cx:pt>
          <cx:pt idx="281">1</cx:pt>
          <cx:pt idx="282">2</cx:pt>
          <cx:pt idx="283">20</cx:pt>
          <cx:pt idx="284">11</cx:pt>
          <cx:pt idx="285">1</cx:pt>
          <cx:pt idx="286">24</cx:pt>
          <cx:pt idx="287">23</cx:pt>
          <cx:pt idx="288">16</cx:pt>
          <cx:pt idx="289">8</cx:pt>
          <cx:pt idx="290">10</cx:pt>
          <cx:pt idx="291">3</cx:pt>
          <cx:pt idx="292">5</cx:pt>
          <cx:pt idx="293">4</cx:pt>
          <cx:pt idx="294">9</cx:pt>
          <cx:pt idx="295">26</cx:pt>
          <cx:pt idx="296">3</cx:pt>
          <cx:pt idx="297">16</cx:pt>
          <cx:pt idx="298">18</cx:pt>
          <cx:pt idx="299">2</cx:pt>
          <cx:pt idx="300">2</cx:pt>
          <cx:pt idx="301">10</cx:pt>
          <cx:pt idx="302">16</cx:pt>
          <cx:pt idx="303">7</cx:pt>
          <cx:pt idx="304">1</cx:pt>
          <cx:pt idx="305">24</cx:pt>
          <cx:pt idx="306">7</cx:pt>
          <cx:pt idx="307">25</cx:pt>
          <cx:pt idx="308">1</cx:pt>
          <cx:pt idx="309">5</cx:pt>
          <cx:pt idx="310">2</cx:pt>
          <cx:pt idx="311">7</cx:pt>
          <cx:pt idx="312">2</cx:pt>
          <cx:pt idx="313">5</cx:pt>
          <cx:pt idx="314">10</cx:pt>
          <cx:pt idx="315">10</cx:pt>
          <cx:pt idx="316">1</cx:pt>
          <cx:pt idx="317">8</cx:pt>
          <cx:pt idx="318">5</cx:pt>
          <cx:pt idx="319">8</cx:pt>
          <cx:pt idx="320">2</cx:pt>
          <cx:pt idx="321">7</cx:pt>
          <cx:pt idx="322">2</cx:pt>
          <cx:pt idx="323">2</cx:pt>
          <cx:pt idx="324">28</cx:pt>
          <cx:pt idx="325">7</cx:pt>
          <cx:pt idx="326">7</cx:pt>
          <cx:pt idx="327">3</cx:pt>
          <cx:pt idx="328">10</cx:pt>
          <cx:pt idx="329">5</cx:pt>
          <cx:pt idx="330">10</cx:pt>
          <cx:pt idx="331">1</cx:pt>
          <cx:pt idx="332">20</cx:pt>
          <cx:pt idx="333">7</cx:pt>
          <cx:pt idx="334">8</cx:pt>
          <cx:pt idx="335">1</cx:pt>
          <cx:pt idx="336">8</cx:pt>
          <cx:pt idx="337">9</cx:pt>
          <cx:pt idx="338">5</cx:pt>
          <cx:pt idx="339">8</cx:pt>
          <cx:pt idx="340">5</cx:pt>
          <cx:pt idx="341">15</cx:pt>
          <cx:pt idx="342">7</cx:pt>
          <cx:pt idx="343">10</cx:pt>
          <cx:pt idx="344">5</cx:pt>
          <cx:pt idx="345">26</cx:pt>
          <cx:pt idx="346">6</cx:pt>
          <cx:pt idx="347">4</cx:pt>
          <cx:pt idx="348">23</cx:pt>
          <cx:pt idx="349">2</cx:pt>
          <cx:pt idx="350">2</cx:pt>
          <cx:pt idx="351">2</cx:pt>
          <cx:pt idx="352">29</cx:pt>
          <cx:pt idx="353">6</cx:pt>
          <cx:pt idx="354">25</cx:pt>
          <cx:pt idx="355">1</cx:pt>
          <cx:pt idx="356">2</cx:pt>
          <cx:pt idx="357">1</cx:pt>
          <cx:pt idx="358">1</cx:pt>
          <cx:pt idx="359">3</cx:pt>
          <cx:pt idx="360">1</cx:pt>
          <cx:pt idx="361">10</cx:pt>
          <cx:pt idx="362">9</cx:pt>
          <cx:pt idx="363">5</cx:pt>
          <cx:pt idx="364">10</cx:pt>
          <cx:pt idx="365">7</cx:pt>
          <cx:pt idx="366">4</cx:pt>
          <cx:pt idx="367">10</cx:pt>
          <cx:pt idx="368">22</cx:pt>
          <cx:pt idx="369">9</cx:pt>
          <cx:pt idx="370">12</cx:pt>
          <cx:pt idx="371">23</cx:pt>
          <cx:pt idx="372">9</cx:pt>
          <cx:pt idx="373">1</cx:pt>
          <cx:pt idx="374">9</cx:pt>
          <cx:pt idx="375">7</cx:pt>
          <cx:pt idx="376">14</cx:pt>
          <cx:pt idx="377">2</cx:pt>
          <cx:pt idx="378">19</cx:pt>
          <cx:pt idx="379">2</cx:pt>
          <cx:pt idx="380">10</cx:pt>
          <cx:pt idx="381">2</cx:pt>
          <cx:pt idx="382">3</cx:pt>
          <cx:pt idx="383">11</cx:pt>
          <cx:pt idx="384">2</cx:pt>
          <cx:pt idx="385">4</cx:pt>
          <cx:pt idx="386">14</cx:pt>
          <cx:pt idx="387">2</cx:pt>
          <cx:pt idx="388">1</cx:pt>
          <cx:pt idx="389">10</cx:pt>
          <cx:pt idx="390">12</cx:pt>
          <cx:pt idx="391">2</cx:pt>
          <cx:pt idx="392">5</cx:pt>
          <cx:pt idx="393">4</cx:pt>
          <cx:pt idx="394">7</cx:pt>
          <cx:pt idx="395">21</cx:pt>
          <cx:pt idx="396">8</cx:pt>
          <cx:pt idx="397">4</cx:pt>
          <cx:pt idx="398">25</cx:pt>
          <cx:pt idx="399">1</cx:pt>
          <cx:pt idx="400">1</cx:pt>
          <cx:pt idx="401">6</cx:pt>
          <cx:pt idx="402">12</cx:pt>
          <cx:pt idx="403">1</cx:pt>
          <cx:pt idx="404">17</cx:pt>
          <cx:pt idx="405">3</cx:pt>
          <cx:pt idx="406">3</cx:pt>
          <cx:pt idx="407">10</cx:pt>
          <cx:pt idx="408">4</cx:pt>
          <cx:pt idx="409">29</cx:pt>
          <cx:pt idx="410">2</cx:pt>
          <cx:pt idx="411">7</cx:pt>
          <cx:pt idx="412">18</cx:pt>
          <cx:pt idx="413">28</cx:pt>
          <cx:pt idx="414">1</cx:pt>
          <cx:pt idx="415">6</cx:pt>
          <cx:pt idx="416">2</cx:pt>
          <cx:pt idx="417">2</cx:pt>
          <cx:pt idx="418">23</cx:pt>
          <cx:pt idx="419">3</cx:pt>
          <cx:pt idx="420">3</cx:pt>
          <cx:pt idx="421">25</cx:pt>
          <cx:pt idx="422">2</cx:pt>
          <cx:pt idx="423">22</cx:pt>
          <cx:pt idx="424">29</cx:pt>
          <cx:pt idx="425">29</cx:pt>
          <cx:pt idx="426">2</cx:pt>
          <cx:pt idx="427">28</cx:pt>
          <cx:pt idx="428">2</cx:pt>
          <cx:pt idx="429">2</cx:pt>
          <cx:pt idx="430">22</cx:pt>
          <cx:pt idx="431">8</cx:pt>
          <cx:pt idx="432">2</cx:pt>
          <cx:pt idx="433">10</cx:pt>
          <cx:pt idx="434">9</cx:pt>
          <cx:pt idx="435">15</cx:pt>
          <cx:pt idx="436">10</cx:pt>
          <cx:pt idx="437">7</cx:pt>
          <cx:pt idx="438">16</cx:pt>
          <cx:pt idx="439">20</cx:pt>
          <cx:pt idx="440">23</cx:pt>
          <cx:pt idx="441">5</cx:pt>
          <cx:pt idx="442">10</cx:pt>
          <cx:pt idx="443">4</cx:pt>
          <cx:pt idx="444">2</cx:pt>
          <cx:pt idx="445">18</cx:pt>
          <cx:pt idx="446">10</cx:pt>
          <cx:pt idx="447">1</cx:pt>
          <cx:pt idx="448">6</cx:pt>
          <cx:pt idx="449">8</cx:pt>
          <cx:pt idx="450">2</cx:pt>
          <cx:pt idx="451">24</cx:pt>
          <cx:pt idx="452">2</cx:pt>
          <cx:pt idx="453">17</cx:pt>
          <cx:pt idx="454">19</cx:pt>
          <cx:pt idx="455">1</cx:pt>
          <cx:pt idx="456">7</cx:pt>
          <cx:pt idx="457">5</cx:pt>
          <cx:pt idx="458">28</cx:pt>
          <cx:pt idx="459">2</cx:pt>
          <cx:pt idx="460">29</cx:pt>
          <cx:pt idx="461">1</cx:pt>
          <cx:pt idx="462">21</cx:pt>
          <cx:pt idx="463">24</cx:pt>
          <cx:pt idx="464">1</cx:pt>
          <cx:pt idx="465">18</cx:pt>
          <cx:pt idx="466">2</cx:pt>
          <cx:pt idx="467">9</cx:pt>
          <cx:pt idx="468">6</cx:pt>
          <cx:pt idx="469">11</cx:pt>
          <cx:pt idx="470">24</cx:pt>
          <cx:pt idx="471">10</cx:pt>
          <cx:pt idx="472">1</cx:pt>
          <cx:pt idx="473">18</cx:pt>
          <cx:pt idx="474">23</cx:pt>
          <cx:pt idx="475">28</cx:pt>
          <cx:pt idx="476">17</cx:pt>
          <cx:pt idx="477">3</cx:pt>
          <cx:pt idx="478">13</cx:pt>
          <cx:pt idx="479">7</cx:pt>
          <cx:pt idx="480">12</cx:pt>
          <cx:pt idx="481">1</cx:pt>
          <cx:pt idx="482">13</cx:pt>
          <cx:pt idx="483">25</cx:pt>
          <cx:pt idx="484">6</cx:pt>
          <cx:pt idx="485">6</cx:pt>
          <cx:pt idx="486">2</cx:pt>
          <cx:pt idx="487">1</cx:pt>
          <cx:pt idx="488">2</cx:pt>
          <cx:pt idx="489">6</cx:pt>
          <cx:pt idx="490">1</cx:pt>
          <cx:pt idx="491">9</cx:pt>
          <cx:pt idx="492">1</cx:pt>
          <cx:pt idx="493">1</cx:pt>
          <cx:pt idx="494">14</cx:pt>
          <cx:pt idx="495">2</cx:pt>
          <cx:pt idx="496">22</cx:pt>
          <cx:pt idx="497">3</cx:pt>
          <cx:pt idx="498">6</cx:pt>
          <cx:pt idx="499">8</cx:pt>
          <cx:pt idx="500">9</cx:pt>
          <cx:pt idx="501">3</cx:pt>
          <cx:pt idx="502">1</cx:pt>
          <cx:pt idx="503">1</cx:pt>
          <cx:pt idx="504">26</cx:pt>
          <cx:pt idx="505">6</cx:pt>
          <cx:pt idx="506">3</cx:pt>
          <cx:pt idx="507">3</cx:pt>
          <cx:pt idx="508">6</cx:pt>
          <cx:pt idx="509">6</cx:pt>
          <cx:pt idx="510">19</cx:pt>
          <cx:pt idx="511">9</cx:pt>
          <cx:pt idx="512">3</cx:pt>
          <cx:pt idx="513">10</cx:pt>
          <cx:pt idx="514">3</cx:pt>
          <cx:pt idx="515">3</cx:pt>
          <cx:pt idx="516">4</cx:pt>
          <cx:pt idx="517">8</cx:pt>
          <cx:pt idx="518">7</cx:pt>
          <cx:pt idx="519">1</cx:pt>
          <cx:pt idx="520">2</cx:pt>
          <cx:pt idx="521">3</cx:pt>
          <cx:pt idx="522">10</cx:pt>
          <cx:pt idx="523">28</cx:pt>
          <cx:pt idx="524">9</cx:pt>
          <cx:pt idx="525">3</cx:pt>
          <cx:pt idx="526">2</cx:pt>
          <cx:pt idx="527">10</cx:pt>
          <cx:pt idx="528">8</cx:pt>
          <cx:pt idx="529">1</cx:pt>
          <cx:pt idx="530">1</cx:pt>
          <cx:pt idx="531">3</cx:pt>
          <cx:pt idx="532">14</cx:pt>
          <cx:pt idx="533">5</cx:pt>
          <cx:pt idx="534">7</cx:pt>
          <cx:pt idx="535">10</cx:pt>
          <cx:pt idx="536">16</cx:pt>
          <cx:pt idx="537">10</cx:pt>
          <cx:pt idx="538">1</cx:pt>
          <cx:pt idx="539">8</cx:pt>
          <cx:pt idx="540">1</cx:pt>
          <cx:pt idx="541">8</cx:pt>
          <cx:pt idx="542">1</cx:pt>
          <cx:pt idx="543">24</cx:pt>
          <cx:pt idx="544">3</cx:pt>
          <cx:pt idx="545">27</cx:pt>
          <cx:pt idx="546">10</cx:pt>
          <cx:pt idx="547">19</cx:pt>
          <cx:pt idx="548">15</cx:pt>
          <cx:pt idx="549">8</cx:pt>
          <cx:pt idx="550">9</cx:pt>
          <cx:pt idx="551">3</cx:pt>
          <cx:pt idx="552">9</cx:pt>
          <cx:pt idx="553">2</cx:pt>
          <cx:pt idx="554">7</cx:pt>
          <cx:pt idx="555">10</cx:pt>
          <cx:pt idx="556">6</cx:pt>
          <cx:pt idx="557">2</cx:pt>
          <cx:pt idx="558">24</cx:pt>
          <cx:pt idx="559">2</cx:pt>
          <cx:pt idx="560">8</cx:pt>
          <cx:pt idx="561">3</cx:pt>
          <cx:pt idx="562">1</cx:pt>
          <cx:pt idx="563">26</cx:pt>
          <cx:pt idx="564">2</cx:pt>
          <cx:pt idx="565">10</cx:pt>
          <cx:pt idx="566">27</cx:pt>
          <cx:pt idx="567">2</cx:pt>
          <cx:pt idx="568">2</cx:pt>
          <cx:pt idx="569">8</cx:pt>
          <cx:pt idx="570">19</cx:pt>
          <cx:pt idx="571">1</cx:pt>
          <cx:pt idx="572">27</cx:pt>
          <cx:pt idx="573">8</cx:pt>
          <cx:pt idx="574">1</cx:pt>
          <cx:pt idx="575">19</cx:pt>
          <cx:pt idx="576">8</cx:pt>
          <cx:pt idx="577">10</cx:pt>
          <cx:pt idx="578">2</cx:pt>
          <cx:pt idx="579">2</cx:pt>
          <cx:pt idx="580">8</cx:pt>
          <cx:pt idx="581">1</cx:pt>
          <cx:pt idx="582">2</cx:pt>
          <cx:pt idx="583">8</cx:pt>
          <cx:pt idx="584">8</cx:pt>
          <cx:pt idx="585">6</cx:pt>
          <cx:pt idx="586">9</cx:pt>
          <cx:pt idx="587">11</cx:pt>
          <cx:pt idx="588">2</cx:pt>
          <cx:pt idx="589">1</cx:pt>
          <cx:pt idx="590">7</cx:pt>
          <cx:pt idx="591">16</cx:pt>
          <cx:pt idx="592">2</cx:pt>
          <cx:pt idx="593">1</cx:pt>
          <cx:pt idx="594">23</cx:pt>
          <cx:pt idx="595">2</cx:pt>
          <cx:pt idx="596">1</cx:pt>
          <cx:pt idx="597">1</cx:pt>
          <cx:pt idx="598">2</cx:pt>
          <cx:pt idx="599">13</cx:pt>
          <cx:pt idx="600">4</cx:pt>
          <cx:pt idx="601">16</cx:pt>
          <cx:pt idx="602">2</cx:pt>
          <cx:pt idx="603">2</cx:pt>
          <cx:pt idx="604">29</cx:pt>
          <cx:pt idx="605">12</cx:pt>
          <cx:pt idx="606">16</cx:pt>
          <cx:pt idx="607">11</cx:pt>
          <cx:pt idx="608">2</cx:pt>
          <cx:pt idx="609">14</cx:pt>
          <cx:pt idx="610">5</cx:pt>
          <cx:pt idx="611">7</cx:pt>
          <cx:pt idx="612">2</cx:pt>
          <cx:pt idx="613">3</cx:pt>
          <cx:pt idx="614">5</cx:pt>
          <cx:pt idx="615">3</cx:pt>
          <cx:pt idx="616">26</cx:pt>
          <cx:pt idx="617">4</cx:pt>
          <cx:pt idx="618">2</cx:pt>
          <cx:pt idx="619">1</cx:pt>
          <cx:pt idx="620">27</cx:pt>
          <cx:pt idx="621">1</cx:pt>
          <cx:pt idx="622">13</cx:pt>
          <cx:pt idx="623">5</cx:pt>
          <cx:pt idx="624">7</cx:pt>
          <cx:pt idx="625">9</cx:pt>
          <cx:pt idx="626">8</cx:pt>
          <cx:pt idx="627">25</cx:pt>
          <cx:pt idx="628">16</cx:pt>
          <cx:pt idx="629">8</cx:pt>
          <cx:pt idx="630">1</cx:pt>
          <cx:pt idx="631">8</cx:pt>
          <cx:pt idx="632">2</cx:pt>
          <cx:pt idx="633">8</cx:pt>
          <cx:pt idx="634">3</cx:pt>
          <cx:pt idx="635">9</cx:pt>
          <cx:pt idx="636">25</cx:pt>
          <cx:pt idx="637">1</cx:pt>
          <cx:pt idx="638">4</cx:pt>
          <cx:pt idx="639">1</cx:pt>
          <cx:pt idx="640">4</cx:pt>
          <cx:pt idx="641">5</cx:pt>
          <cx:pt idx="642">9</cx:pt>
          <cx:pt idx="643">3</cx:pt>
          <cx:pt idx="644">11</cx:pt>
          <cx:pt idx="645">1</cx:pt>
          <cx:pt idx="646">8</cx:pt>
          <cx:pt idx="647">25</cx:pt>
          <cx:pt idx="648">21</cx:pt>
          <cx:pt idx="649">23</cx:pt>
          <cx:pt idx="650">1</cx:pt>
          <cx:pt idx="651">2</cx:pt>
          <cx:pt idx="652">19</cx:pt>
          <cx:pt idx="653">2</cx:pt>
          <cx:pt idx="654">2</cx:pt>
          <cx:pt idx="655">3</cx:pt>
          <cx:pt idx="656">25</cx:pt>
          <cx:pt idx="657">7</cx:pt>
          <cx:pt idx="658">9</cx:pt>
          <cx:pt idx="659">5</cx:pt>
          <cx:pt idx="660">2</cx:pt>
          <cx:pt idx="661">8</cx:pt>
          <cx:pt idx="662">2</cx:pt>
          <cx:pt idx="663">18</cx:pt>
          <cx:pt idx="664">14</cx:pt>
          <cx:pt idx="665">2</cx:pt>
          <cx:pt idx="666">3</cx:pt>
          <cx:pt idx="667">2</cx:pt>
          <cx:pt idx="668">9</cx:pt>
          <cx:pt idx="669">6</cx:pt>
          <cx:pt idx="670">4</cx:pt>
          <cx:pt idx="671">10</cx:pt>
          <cx:pt idx="672">14</cx:pt>
          <cx:pt idx="673">1</cx:pt>
          <cx:pt idx="674">5</cx:pt>
          <cx:pt idx="675">7</cx:pt>
          <cx:pt idx="676">21</cx:pt>
          <cx:pt idx="677">8</cx:pt>
          <cx:pt idx="678">20</cx:pt>
          <cx:pt idx="679">20</cx:pt>
          <cx:pt idx="680">7</cx:pt>
          <cx:pt idx="681">1</cx:pt>
          <cx:pt idx="682">1</cx:pt>
          <cx:pt idx="683">19</cx:pt>
          <cx:pt idx="684">10</cx:pt>
          <cx:pt idx="685">1</cx:pt>
          <cx:pt idx="686">6</cx:pt>
          <cx:pt idx="687">2</cx:pt>
          <cx:pt idx="688">21</cx:pt>
          <cx:pt idx="689">4</cx:pt>
          <cx:pt idx="690">12</cx:pt>
          <cx:pt idx="691">9</cx:pt>
          <cx:pt idx="692">3</cx:pt>
          <cx:pt idx="693">3</cx:pt>
          <cx:pt idx="694">1</cx:pt>
          <cx:pt idx="695">1</cx:pt>
          <cx:pt idx="696">4</cx:pt>
          <cx:pt idx="697">20</cx:pt>
          <cx:pt idx="698">18</cx:pt>
          <cx:pt idx="699">1</cx:pt>
          <cx:pt idx="700">2</cx:pt>
          <cx:pt idx="701">2</cx:pt>
          <cx:pt idx="702">8</cx:pt>
          <cx:pt idx="703">10</cx:pt>
          <cx:pt idx="704">3</cx:pt>
          <cx:pt idx="705">2</cx:pt>
          <cx:pt idx="706">24</cx:pt>
          <cx:pt idx="707">16</cx:pt>
          <cx:pt idx="708">8</cx:pt>
          <cx:pt idx="709">9</cx:pt>
          <cx:pt idx="710">17</cx:pt>
          <cx:pt idx="711">10</cx:pt>
          <cx:pt idx="712">13</cx:pt>
          <cx:pt idx="713">1</cx:pt>
          <cx:pt idx="714">1</cx:pt>
          <cx:pt idx="715">1</cx:pt>
          <cx:pt idx="716">9</cx:pt>
          <cx:pt idx="717">16</cx:pt>
          <cx:pt idx="718">23</cx:pt>
          <cx:pt idx="719">4</cx:pt>
          <cx:pt idx="720">22</cx:pt>
          <cx:pt idx="721">24</cx:pt>
          <cx:pt idx="722">10</cx:pt>
          <cx:pt idx="723">7</cx:pt>
          <cx:pt idx="724">17</cx:pt>
          <cx:pt idx="725">14</cx:pt>
          <cx:pt idx="726">1</cx:pt>
          <cx:pt idx="727">5</cx:pt>
          <cx:pt idx="728">17</cx:pt>
          <cx:pt idx="729">25</cx:pt>
          <cx:pt idx="730">8</cx:pt>
          <cx:pt idx="731">11</cx:pt>
          <cx:pt idx="732">5</cx:pt>
          <cx:pt idx="733">2</cx:pt>
          <cx:pt idx="734">8</cx:pt>
          <cx:pt idx="735">6</cx:pt>
          <cx:pt idx="736">4</cx:pt>
          <cx:pt idx="737">7</cx:pt>
          <cx:pt idx="738">1</cx:pt>
          <cx:pt idx="739">2</cx:pt>
          <cx:pt idx="740">10</cx:pt>
          <cx:pt idx="741">5</cx:pt>
          <cx:pt idx="742">9</cx:pt>
          <cx:pt idx="743">2</cx:pt>
          <cx:pt idx="744">11</cx:pt>
          <cx:pt idx="745">18</cx:pt>
          <cx:pt idx="746">7</cx:pt>
          <cx:pt idx="747">3</cx:pt>
          <cx:pt idx="748">29</cx:pt>
          <cx:pt idx="749">2</cx:pt>
          <cx:pt idx="750">28</cx:pt>
          <cx:pt idx="751">1</cx:pt>
          <cx:pt idx="752">16</cx:pt>
          <cx:pt idx="753">22</cx:pt>
          <cx:pt idx="754">8</cx:pt>
          <cx:pt idx="755">11</cx:pt>
          <cx:pt idx="756">29</cx:pt>
          <cx:pt idx="757">1</cx:pt>
          <cx:pt idx="758">1</cx:pt>
          <cx:pt idx="759">24</cx:pt>
          <cx:pt idx="760">2</cx:pt>
          <cx:pt idx="761">15</cx:pt>
          <cx:pt idx="762">2</cx:pt>
          <cx:pt idx="763">10</cx:pt>
          <cx:pt idx="764">10</cx:pt>
          <cx:pt idx="765">3</cx:pt>
          <cx:pt idx="766">2</cx:pt>
          <cx:pt idx="767">3</cx:pt>
          <cx:pt idx="768">26</cx:pt>
          <cx:pt idx="769">1</cx:pt>
          <cx:pt idx="770">1</cx:pt>
          <cx:pt idx="771">2</cx:pt>
          <cx:pt idx="772">9</cx:pt>
          <cx:pt idx="773">12</cx:pt>
          <cx:pt idx="774">2</cx:pt>
          <cx:pt idx="775">25</cx:pt>
          <cx:pt idx="776">9</cx:pt>
          <cx:pt idx="777">10</cx:pt>
          <cx:pt idx="778">8</cx:pt>
          <cx:pt idx="779">4</cx:pt>
          <cx:pt idx="780">24</cx:pt>
          <cx:pt idx="781">1</cx:pt>
          <cx:pt idx="782">20</cx:pt>
          <cx:pt idx="783">7</cx:pt>
          <cx:pt idx="784">17</cx:pt>
          <cx:pt idx="785">20</cx:pt>
          <cx:pt idx="786">8</cx:pt>
          <cx:pt idx="787">2</cx:pt>
          <cx:pt idx="788">10</cx:pt>
          <cx:pt idx="789">1</cx:pt>
          <cx:pt idx="790">5</cx:pt>
          <cx:pt idx="791">4</cx:pt>
          <cx:pt idx="792">29</cx:pt>
          <cx:pt idx="793">15</cx:pt>
          <cx:pt idx="794">3</cx:pt>
          <cx:pt idx="795">10</cx:pt>
          <cx:pt idx="796">4</cx:pt>
          <cx:pt idx="797">21</cx:pt>
          <cx:pt idx="798">25</cx:pt>
          <cx:pt idx="799">2</cx:pt>
          <cx:pt idx="800">1</cx:pt>
          <cx:pt idx="801">1</cx:pt>
          <cx:pt idx="802">7</cx:pt>
          <cx:pt idx="803">3</cx:pt>
          <cx:pt idx="804">1</cx:pt>
          <cx:pt idx="805">9</cx:pt>
          <cx:pt idx="806">7</cx:pt>
          <cx:pt idx="807">10</cx:pt>
          <cx:pt idx="808">28</cx:pt>
          <cx:pt idx="809">3</cx:pt>
          <cx:pt idx="810">3</cx:pt>
          <cx:pt idx="811">2</cx:pt>
          <cx:pt idx="812">27</cx:pt>
          <cx:pt idx="813">2</cx:pt>
          <cx:pt idx="814">14</cx:pt>
          <cx:pt idx="815">1</cx:pt>
          <cx:pt idx="816">9</cx:pt>
          <cx:pt idx="817">18</cx:pt>
          <cx:pt idx="818">20</cx:pt>
          <cx:pt idx="819">2</cx:pt>
          <cx:pt idx="820">11</cx:pt>
          <cx:pt idx="821">8</cx:pt>
          <cx:pt idx="822">2</cx:pt>
          <cx:pt idx="823">10</cx:pt>
          <cx:pt idx="824">29</cx:pt>
          <cx:pt idx="825">8</cx:pt>
          <cx:pt idx="826">1</cx:pt>
          <cx:pt idx="827">6</cx:pt>
          <cx:pt idx="828">8</cx:pt>
          <cx:pt idx="829">9</cx:pt>
          <cx:pt idx="830">12</cx:pt>
          <cx:pt idx="831">15</cx:pt>
          <cx:pt idx="832">25</cx:pt>
          <cx:pt idx="833">6</cx:pt>
          <cx:pt idx="834">9</cx:pt>
          <cx:pt idx="835">8</cx:pt>
          <cx:pt idx="836">23</cx:pt>
          <cx:pt idx="837">9</cx:pt>
          <cx:pt idx="838">12</cx:pt>
          <cx:pt idx="839">4</cx:pt>
          <cx:pt idx="840">1</cx:pt>
          <cx:pt idx="841">24</cx:pt>
          <cx:pt idx="842">12</cx:pt>
          <cx:pt idx="843">3</cx:pt>
          <cx:pt idx="844">10</cx:pt>
          <cx:pt idx="845">26</cx:pt>
          <cx:pt idx="846">2</cx:pt>
          <cx:pt idx="847">1</cx:pt>
          <cx:pt idx="848">4</cx:pt>
          <cx:pt idx="849">9</cx:pt>
          <cx:pt idx="850">2</cx:pt>
          <cx:pt idx="851">4</cx:pt>
          <cx:pt idx="852">6</cx:pt>
          <cx:pt idx="853">9</cx:pt>
          <cx:pt idx="854">7</cx:pt>
          <cx:pt idx="855">1</cx:pt>
          <cx:pt idx="856">3</cx:pt>
          <cx:pt idx="857">10</cx:pt>
          <cx:pt idx="858">7</cx:pt>
          <cx:pt idx="859">15</cx:pt>
          <cx:pt idx="860">3</cx:pt>
          <cx:pt idx="861">2</cx:pt>
          <cx:pt idx="862">17</cx:pt>
          <cx:pt idx="863">2</cx:pt>
          <cx:pt idx="864">5</cx:pt>
          <cx:pt idx="865">29</cx:pt>
          <cx:pt idx="866">2</cx:pt>
          <cx:pt idx="867">2</cx:pt>
          <cx:pt idx="868">19</cx:pt>
          <cx:pt idx="869">15</cx:pt>
          <cx:pt idx="870">17</cx:pt>
          <cx:pt idx="871">17</cx:pt>
          <cx:pt idx="872">25</cx:pt>
          <cx:pt idx="873">6</cx:pt>
          <cx:pt idx="874">7</cx:pt>
          <cx:pt idx="875">29</cx:pt>
          <cx:pt idx="876">21</cx:pt>
          <cx:pt idx="877">2</cx:pt>
          <cx:pt idx="878">2</cx:pt>
          <cx:pt idx="879">7</cx:pt>
          <cx:pt idx="880">13</cx:pt>
          <cx:pt idx="881">2</cx:pt>
          <cx:pt idx="882">1</cx:pt>
          <cx:pt idx="883">9</cx:pt>
          <cx:pt idx="884">10</cx:pt>
          <cx:pt idx="885">10</cx:pt>
          <cx:pt idx="886">1</cx:pt>
          <cx:pt idx="887">26</cx:pt>
          <cx:pt idx="888">8</cx:pt>
          <cx:pt idx="889">14</cx:pt>
          <cx:pt idx="890">1</cx:pt>
          <cx:pt idx="891">2</cx:pt>
          <cx:pt idx="892">10</cx:pt>
          <cx:pt idx="893">1</cx:pt>
          <cx:pt idx="894">3</cx:pt>
          <cx:pt idx="895">11</cx:pt>
          <cx:pt idx="896">24</cx:pt>
          <cx:pt idx="897">3</cx:pt>
          <cx:pt idx="898">3</cx:pt>
          <cx:pt idx="899">4</cx:pt>
          <cx:pt idx="900">3</cx:pt>
          <cx:pt idx="901">2</cx:pt>
          <cx:pt idx="902">4</cx:pt>
          <cx:pt idx="903">7</cx:pt>
          <cx:pt idx="904">1</cx:pt>
          <cx:pt idx="905">1</cx:pt>
          <cx:pt idx="906">20</cx:pt>
          <cx:pt idx="907">5</cx:pt>
          <cx:pt idx="908">10</cx:pt>
          <cx:pt idx="909">25</cx:pt>
          <cx:pt idx="910">1</cx:pt>
          <cx:pt idx="911">24</cx:pt>
          <cx:pt idx="912">4</cx:pt>
          <cx:pt idx="913">2</cx:pt>
          <cx:pt idx="914">8</cx:pt>
          <cx:pt idx="915">10</cx:pt>
          <cx:pt idx="916">4</cx:pt>
          <cx:pt idx="917">2</cx:pt>
          <cx:pt idx="918">9</cx:pt>
          <cx:pt idx="919">18</cx:pt>
          <cx:pt idx="920">19</cx:pt>
          <cx:pt idx="921">1</cx:pt>
          <cx:pt idx="922">4</cx:pt>
          <cx:pt idx="923">11</cx:pt>
          <cx:pt idx="924">6</cx:pt>
          <cx:pt idx="925">7</cx:pt>
          <cx:pt idx="926">4</cx:pt>
          <cx:pt idx="927">2</cx:pt>
          <cx:pt idx="928">15</cx:pt>
          <cx:pt idx="929">2</cx:pt>
          <cx:pt idx="930">6</cx:pt>
          <cx:pt idx="931">9</cx:pt>
          <cx:pt idx="932">7</cx:pt>
          <cx:pt idx="933">1</cx:pt>
          <cx:pt idx="934">1</cx:pt>
          <cx:pt idx="935">8</cx:pt>
          <cx:pt idx="936">25</cx:pt>
          <cx:pt idx="937">13</cx:pt>
          <cx:pt idx="938">23</cx:pt>
          <cx:pt idx="939">7</cx:pt>
          <cx:pt idx="940">23</cx:pt>
          <cx:pt idx="941">6</cx:pt>
          <cx:pt idx="942">10</cx:pt>
          <cx:pt idx="943">1</cx:pt>
          <cx:pt idx="944">1</cx:pt>
          <cx:pt idx="945">28</cx:pt>
          <cx:pt idx="946">25</cx:pt>
          <cx:pt idx="947">5</cx:pt>
          <cx:pt idx="948">17</cx:pt>
          <cx:pt idx="949">18</cx:pt>
          <cx:pt idx="950">2</cx:pt>
          <cx:pt idx="951">10</cx:pt>
          <cx:pt idx="952">1</cx:pt>
          <cx:pt idx="953">3</cx:pt>
          <cx:pt idx="954">2</cx:pt>
          <cx:pt idx="955">2</cx:pt>
          <cx:pt idx="956">8</cx:pt>
          <cx:pt idx="957">16</cx:pt>
          <cx:pt idx="958">9</cx:pt>
          <cx:pt idx="959">2</cx:pt>
          <cx:pt idx="960">1</cx:pt>
          <cx:pt idx="961">4</cx:pt>
          <cx:pt idx="962">5</cx:pt>
          <cx:pt idx="963">2</cx:pt>
          <cx:pt idx="964">15</cx:pt>
          <cx:pt idx="965">19</cx:pt>
          <cx:pt idx="966">7</cx:pt>
          <cx:pt idx="967">1</cx:pt>
          <cx:pt idx="968">7</cx:pt>
          <cx:pt idx="969">4</cx:pt>
          <cx:pt idx="970">11</cx:pt>
          <cx:pt idx="971">11</cx:pt>
          <cx:pt idx="972">1</cx:pt>
          <cx:pt idx="973">1</cx:pt>
          <cx:pt idx="974">2</cx:pt>
          <cx:pt idx="975">13</cx:pt>
          <cx:pt idx="976">23</cx:pt>
          <cx:pt idx="977">26</cx:pt>
          <cx:pt idx="978">2</cx:pt>
          <cx:pt idx="979">29</cx:pt>
          <cx:pt idx="980">2</cx:pt>
          <cx:pt idx="981">18</cx:pt>
          <cx:pt idx="982">7</cx:pt>
          <cx:pt idx="983">2</cx:pt>
          <cx:pt idx="984">26</cx:pt>
          <cx:pt idx="985">22</cx:pt>
          <cx:pt idx="986">21</cx:pt>
          <cx:pt idx="987">2</cx:pt>
          <cx:pt idx="988">22</cx:pt>
          <cx:pt idx="989">4</cx:pt>
          <cx:pt idx="990">5</cx:pt>
          <cx:pt idx="991">2</cx:pt>
          <cx:pt idx="992">25</cx:pt>
          <cx:pt idx="993">18</cx:pt>
          <cx:pt idx="994">28</cx:pt>
          <cx:pt idx="995">6</cx:pt>
          <cx:pt idx="996">10</cx:pt>
          <cx:pt idx="997">17</cx:pt>
          <cx:pt idx="998">2</cx:pt>
          <cx:pt idx="999">10</cx:pt>
          <cx:pt idx="1000">8</cx:pt>
          <cx:pt idx="1001">11</cx:pt>
          <cx:pt idx="1002">18</cx:pt>
          <cx:pt idx="1003">1</cx:pt>
          <cx:pt idx="1004">7</cx:pt>
          <cx:pt idx="1005">17</cx:pt>
          <cx:pt idx="1006">28</cx:pt>
          <cx:pt idx="1007">14</cx:pt>
          <cx:pt idx="1008">1</cx:pt>
          <cx:pt idx="1009">1</cx:pt>
          <cx:pt idx="1010">1</cx:pt>
          <cx:pt idx="1011">3</cx:pt>
          <cx:pt idx="1012">1</cx:pt>
          <cx:pt idx="1013">7</cx:pt>
          <cx:pt idx="1014">8</cx:pt>
          <cx:pt idx="1015">1</cx:pt>
          <cx:pt idx="1016">8</cx:pt>
          <cx:pt idx="1017">11</cx:pt>
          <cx:pt idx="1018">4</cx:pt>
          <cx:pt idx="1019">16</cx:pt>
          <cx:pt idx="1020">1</cx:pt>
          <cx:pt idx="1021">9</cx:pt>
          <cx:pt idx="1022">5</cx:pt>
          <cx:pt idx="1023">1</cx:pt>
          <cx:pt idx="1024">2</cx:pt>
          <cx:pt idx="1025">4</cx:pt>
          <cx:pt idx="1026">7</cx:pt>
          <cx:pt idx="1027">1</cx:pt>
          <cx:pt idx="1028">5</cx:pt>
          <cx:pt idx="1029">9</cx:pt>
          <cx:pt idx="1030">8</cx:pt>
          <cx:pt idx="1031">9</cx:pt>
          <cx:pt idx="1032">2</cx:pt>
          <cx:pt idx="1033">1</cx:pt>
          <cx:pt idx="1034">20</cx:pt>
          <cx:pt idx="1035">8</cx:pt>
          <cx:pt idx="1036">2</cx:pt>
          <cx:pt idx="1037">29</cx:pt>
          <cx:pt idx="1038">7</cx:pt>
          <cx:pt idx="1039">9</cx:pt>
          <cx:pt idx="1040">8</cx:pt>
          <cx:pt idx="1041">5</cx:pt>
          <cx:pt idx="1042">5</cx:pt>
          <cx:pt idx="1043">2</cx:pt>
          <cx:pt idx="1044">5</cx:pt>
          <cx:pt idx="1045">2</cx:pt>
          <cx:pt idx="1046">20</cx:pt>
          <cx:pt idx="1047">7</cx:pt>
          <cx:pt idx="1048">3</cx:pt>
          <cx:pt idx="1049">16</cx:pt>
          <cx:pt idx="1050">9</cx:pt>
          <cx:pt idx="1051">1</cx:pt>
          <cx:pt idx="1052">7</cx:pt>
          <cx:pt idx="1053">1</cx:pt>
          <cx:pt idx="1054">7</cx:pt>
          <cx:pt idx="1055">15</cx:pt>
          <cx:pt idx="1056">1</cx:pt>
          <cx:pt idx="1057">13</cx:pt>
          <cx:pt idx="1058">24</cx:pt>
          <cx:pt idx="1059">7</cx:pt>
          <cx:pt idx="1060">9</cx:pt>
          <cx:pt idx="1061">13</cx:pt>
          <cx:pt idx="1062">2</cx:pt>
          <cx:pt idx="1063">19</cx:pt>
          <cx:pt idx="1064">1</cx:pt>
          <cx:pt idx="1065">4</cx:pt>
          <cx:pt idx="1066">4</cx:pt>
          <cx:pt idx="1067">14</cx:pt>
          <cx:pt idx="1068">2</cx:pt>
          <cx:pt idx="1069">1</cx:pt>
          <cx:pt idx="1070">7</cx:pt>
          <cx:pt idx="1071">3</cx:pt>
          <cx:pt idx="1072">2</cx:pt>
          <cx:pt idx="1073">29</cx:pt>
          <cx:pt idx="1074">8</cx:pt>
          <cx:pt idx="1075">10</cx:pt>
          <cx:pt idx="1076">11</cx:pt>
          <cx:pt idx="1077">1</cx:pt>
          <cx:pt idx="1078">28</cx:pt>
          <cx:pt idx="1079">6</cx:pt>
          <cx:pt idx="1080">3</cx:pt>
          <cx:pt idx="1081">16</cx:pt>
          <cx:pt idx="1082">20</cx:pt>
          <cx:pt idx="1083">9</cx:pt>
          <cx:pt idx="1084">1</cx:pt>
          <cx:pt idx="1085">3</cx:pt>
          <cx:pt idx="1086">22</cx:pt>
          <cx:pt idx="1087">7</cx:pt>
          <cx:pt idx="1088">2</cx:pt>
          <cx:pt idx="1089">13</cx:pt>
          <cx:pt idx="1090">8</cx:pt>
          <cx:pt idx="1091">25</cx:pt>
          <cx:pt idx="1092">28</cx:pt>
          <cx:pt idx="1093">2</cx:pt>
          <cx:pt idx="1094">9</cx:pt>
          <cx:pt idx="1095">28</cx:pt>
          <cx:pt idx="1096">6</cx:pt>
          <cx:pt idx="1097">21</cx:pt>
          <cx:pt idx="1098">8</cx:pt>
          <cx:pt idx="1099">1</cx:pt>
          <cx:pt idx="1100">28</cx:pt>
          <cx:pt idx="1101">5</cx:pt>
          <cx:pt idx="1102">2</cx:pt>
          <cx:pt idx="1103">16</cx:pt>
          <cx:pt idx="1104">9</cx:pt>
          <cx:pt idx="1105">8</cx:pt>
          <cx:pt idx="1106">1</cx:pt>
          <cx:pt idx="1107">10</cx:pt>
          <cx:pt idx="1108">1</cx:pt>
          <cx:pt idx="1109">29</cx:pt>
          <cx:pt idx="1110">2</cx:pt>
          <cx:pt idx="1111">2</cx:pt>
          <cx:pt idx="1112">2</cx:pt>
          <cx:pt idx="1113">1</cx:pt>
          <cx:pt idx="1114">15</cx:pt>
          <cx:pt idx="1115">7</cx:pt>
          <cx:pt idx="1116">26</cx:pt>
          <cx:pt idx="1117">1</cx:pt>
          <cx:pt idx="1118">3</cx:pt>
          <cx:pt idx="1119">14</cx:pt>
          <cx:pt idx="1120">16</cx:pt>
          <cx:pt idx="1121">1</cx:pt>
          <cx:pt idx="1122">3</cx:pt>
          <cx:pt idx="1123">10</cx:pt>
          <cx:pt idx="1124">6</cx:pt>
          <cx:pt idx="1125">2</cx:pt>
          <cx:pt idx="1126">9</cx:pt>
          <cx:pt idx="1127">10</cx:pt>
          <cx:pt idx="1128">6</cx:pt>
          <cx:pt idx="1129">9</cx:pt>
          <cx:pt idx="1130">28</cx:pt>
          <cx:pt idx="1131">10</cx:pt>
          <cx:pt idx="1132">14</cx:pt>
          <cx:pt idx="1133">27</cx:pt>
          <cx:pt idx="1134">7</cx:pt>
          <cx:pt idx="1135">1</cx:pt>
          <cx:pt idx="1136">24</cx:pt>
          <cx:pt idx="1137">26</cx:pt>
          <cx:pt idx="1138">20</cx:pt>
          <cx:pt idx="1139">5</cx:pt>
          <cx:pt idx="1140">7</cx:pt>
          <cx:pt idx="1141">7</cx:pt>
          <cx:pt idx="1142">5</cx:pt>
          <cx:pt idx="1143">26</cx:pt>
          <cx:pt idx="1144">2</cx:pt>
          <cx:pt idx="1145">12</cx:pt>
          <cx:pt idx="1146">10</cx:pt>
          <cx:pt idx="1147">25</cx:pt>
          <cx:pt idx="1148">10</cx:pt>
          <cx:pt idx="1149">19</cx:pt>
          <cx:pt idx="1150">18</cx:pt>
          <cx:pt idx="1151">27</cx:pt>
          <cx:pt idx="1152">5</cx:pt>
          <cx:pt idx="1153">3</cx:pt>
          <cx:pt idx="1154">26</cx:pt>
          <cx:pt idx="1155">3</cx:pt>
          <cx:pt idx="1156">15</cx:pt>
          <cx:pt idx="1157">8</cx:pt>
          <cx:pt idx="1158">19</cx:pt>
          <cx:pt idx="1159">4</cx:pt>
          <cx:pt idx="1160">2</cx:pt>
          <cx:pt idx="1161">2</cx:pt>
          <cx:pt idx="1162">10</cx:pt>
          <cx:pt idx="1163">10</cx:pt>
          <cx:pt idx="1164">16</cx:pt>
          <cx:pt idx="1165">1</cx:pt>
          <cx:pt idx="1166">4</cx:pt>
          <cx:pt idx="1167">15</cx:pt>
          <cx:pt idx="1168">2</cx:pt>
          <cx:pt idx="1169">8</cx:pt>
          <cx:pt idx="1170">2</cx:pt>
          <cx:pt idx="1171">7</cx:pt>
          <cx:pt idx="1172">10</cx:pt>
          <cx:pt idx="1173">5</cx:pt>
          <cx:pt idx="1174">2</cx:pt>
          <cx:pt idx="1175">12</cx:pt>
          <cx:pt idx="1176">22</cx:pt>
          <cx:pt idx="1177">17</cx:pt>
          <cx:pt idx="1178">2</cx:pt>
          <cx:pt idx="1179">3</cx:pt>
          <cx:pt idx="1180">7</cx:pt>
          <cx:pt idx="1181">6</cx:pt>
          <cx:pt idx="1182">1</cx:pt>
          <cx:pt idx="1183">3</cx:pt>
          <cx:pt idx="1184">22</cx:pt>
          <cx:pt idx="1185">15</cx:pt>
          <cx:pt idx="1186">12</cx:pt>
          <cx:pt idx="1187">1</cx:pt>
          <cx:pt idx="1188">5</cx:pt>
          <cx:pt idx="1189">2</cx:pt>
          <cx:pt idx="1190">2</cx:pt>
          <cx:pt idx="1191">5</cx:pt>
          <cx:pt idx="1192">16</cx:pt>
          <cx:pt idx="1193">2</cx:pt>
          <cx:pt idx="1194">2</cx:pt>
          <cx:pt idx="1195">1</cx:pt>
          <cx:pt idx="1196">23</cx:pt>
          <cx:pt idx="1197">9</cx:pt>
          <cx:pt idx="1198">16</cx:pt>
          <cx:pt idx="1199">26</cx:pt>
          <cx:pt idx="1200">1</cx:pt>
          <cx:pt idx="1201">8</cx:pt>
          <cx:pt idx="1202">4</cx:pt>
          <cx:pt idx="1203">24</cx:pt>
          <cx:pt idx="1204">7</cx:pt>
          <cx:pt idx="1205">2</cx:pt>
          <cx:pt idx="1206">7</cx:pt>
          <cx:pt idx="1207">22</cx:pt>
          <cx:pt idx="1208">5</cx:pt>
          <cx:pt idx="1209">1</cx:pt>
          <cx:pt idx="1210">21</cx:pt>
          <cx:pt idx="1211">1</cx:pt>
          <cx:pt idx="1212">19</cx:pt>
          <cx:pt idx="1213">7</cx:pt>
          <cx:pt idx="1214">2</cx:pt>
          <cx:pt idx="1215">2</cx:pt>
          <cx:pt idx="1216">2</cx:pt>
          <cx:pt idx="1217">9</cx:pt>
          <cx:pt idx="1218">6</cx:pt>
          <cx:pt idx="1219">9</cx:pt>
          <cx:pt idx="1220">2</cx:pt>
          <cx:pt idx="1221">1</cx:pt>
          <cx:pt idx="1222">22</cx:pt>
          <cx:pt idx="1223">9</cx:pt>
          <cx:pt idx="1224">17</cx:pt>
          <cx:pt idx="1225">28</cx:pt>
          <cx:pt idx="1226">10</cx:pt>
          <cx:pt idx="1227">2</cx:pt>
          <cx:pt idx="1228">4</cx:pt>
          <cx:pt idx="1229">8</cx:pt>
          <cx:pt idx="1230">29</cx:pt>
          <cx:pt idx="1231">13</cx:pt>
          <cx:pt idx="1232">27</cx:pt>
          <cx:pt idx="1233">16</cx:pt>
          <cx:pt idx="1234">2</cx:pt>
          <cx:pt idx="1235">2</cx:pt>
          <cx:pt idx="1236">13</cx:pt>
          <cx:pt idx="1237">1</cx:pt>
          <cx:pt idx="1238">4</cx:pt>
          <cx:pt idx="1239">24</cx:pt>
          <cx:pt idx="1240">1</cx:pt>
          <cx:pt idx="1241">19</cx:pt>
          <cx:pt idx="1242">7</cx:pt>
          <cx:pt idx="1243">4</cx:pt>
          <cx:pt idx="1244">2</cx:pt>
          <cx:pt idx="1245">10</cx:pt>
          <cx:pt idx="1246">8</cx:pt>
          <cx:pt idx="1247">5</cx:pt>
          <cx:pt idx="1248">8</cx:pt>
          <cx:pt idx="1249">9</cx:pt>
          <cx:pt idx="1250">1</cx:pt>
          <cx:pt idx="1251">15</cx:pt>
          <cx:pt idx="1252">2</cx:pt>
          <cx:pt idx="1253">2</cx:pt>
          <cx:pt idx="1254">11</cx:pt>
          <cx:pt idx="1255">16</cx:pt>
          <cx:pt idx="1256">2</cx:pt>
          <cx:pt idx="1257">16</cx:pt>
          <cx:pt idx="1258">4</cx:pt>
          <cx:pt idx="1259">16</cx:pt>
          <cx:pt idx="1260">5</cx:pt>
          <cx:pt idx="1261">18</cx:pt>
          <cx:pt idx="1262">17</cx:pt>
          <cx:pt idx="1263">12</cx:pt>
          <cx:pt idx="1264">2</cx:pt>
          <cx:pt idx="1265">4</cx:pt>
          <cx:pt idx="1266">9</cx:pt>
          <cx:pt idx="1267">10</cx:pt>
          <cx:pt idx="1268">1</cx:pt>
          <cx:pt idx="1269">2</cx:pt>
          <cx:pt idx="1270">3</cx:pt>
          <cx:pt idx="1271">7</cx:pt>
          <cx:pt idx="1272">6</cx:pt>
          <cx:pt idx="1273">8</cx:pt>
          <cx:pt idx="1274">29</cx:pt>
          <cx:pt idx="1275">3</cx:pt>
          <cx:pt idx="1276">9</cx:pt>
          <cx:pt idx="1277">2</cx:pt>
          <cx:pt idx="1278">10</cx:pt>
          <cx:pt idx="1279">1</cx:pt>
          <cx:pt idx="1280">8</cx:pt>
          <cx:pt idx="1281">27</cx:pt>
          <cx:pt idx="1282">8</cx:pt>
          <cx:pt idx="1283">1</cx:pt>
          <cx:pt idx="1284">10</cx:pt>
          <cx:pt idx="1285">26</cx:pt>
          <cx:pt idx="1286">2</cx:pt>
          <cx:pt idx="1287">13</cx:pt>
          <cx:pt idx="1288">2</cx:pt>
          <cx:pt idx="1289">2</cx:pt>
          <cx:pt idx="1290">9</cx:pt>
          <cx:pt idx="1291">10</cx:pt>
          <cx:pt idx="1292">20</cx:pt>
          <cx:pt idx="1293">9</cx:pt>
          <cx:pt idx="1294">5</cx:pt>
          <cx:pt idx="1295">4</cx:pt>
          <cx:pt idx="1296">10</cx:pt>
          <cx:pt idx="1297">20</cx:pt>
          <cx:pt idx="1298">21</cx:pt>
          <cx:pt idx="1299">1</cx:pt>
          <cx:pt idx="1300">8</cx:pt>
          <cx:pt idx="1301">2</cx:pt>
          <cx:pt idx="1302">23</cx:pt>
          <cx:pt idx="1303">4</cx:pt>
          <cx:pt idx="1304">12</cx:pt>
          <cx:pt idx="1305">7</cx:pt>
          <cx:pt idx="1306">7</cx:pt>
          <cx:pt idx="1307">1</cx:pt>
          <cx:pt idx="1308">2</cx:pt>
          <cx:pt idx="1309">10</cx:pt>
          <cx:pt idx="1310">15</cx:pt>
          <cx:pt idx="1311">14</cx:pt>
          <cx:pt idx="1312">18</cx:pt>
          <cx:pt idx="1313">13</cx:pt>
          <cx:pt idx="1314">2</cx:pt>
          <cx:pt idx="1315">2</cx:pt>
          <cx:pt idx="1316">2</cx:pt>
          <cx:pt idx="1317">5</cx:pt>
          <cx:pt idx="1318">20</cx:pt>
          <cx:pt idx="1319">10</cx:pt>
          <cx:pt idx="1320">10</cx:pt>
          <cx:pt idx="1321">9</cx:pt>
          <cx:pt idx="1322">2</cx:pt>
          <cx:pt idx="1323">1</cx:pt>
          <cx:pt idx="1324">29</cx:pt>
          <cx:pt idx="1325">8</cx:pt>
          <cx:pt idx="1326">2</cx:pt>
          <cx:pt idx="1327">3</cx:pt>
          <cx:pt idx="1328">23</cx:pt>
          <cx:pt idx="1329">6</cx:pt>
          <cx:pt idx="1330">6</cx:pt>
          <cx:pt idx="1331">10</cx:pt>
          <cx:pt idx="1332">24</cx:pt>
          <cx:pt idx="1333">10</cx:pt>
          <cx:pt idx="1334">15</cx:pt>
          <cx:pt idx="1335">19</cx:pt>
          <cx:pt idx="1336">2</cx:pt>
          <cx:pt idx="1337">3</cx:pt>
          <cx:pt idx="1338">9</cx:pt>
          <cx:pt idx="1339">7</cx:pt>
          <cx:pt idx="1340">10</cx:pt>
          <cx:pt idx="1341">20</cx:pt>
          <cx:pt idx="1342">4</cx:pt>
          <cx:pt idx="1343">7</cx:pt>
          <cx:pt idx="1344">7</cx:pt>
          <cx:pt idx="1345">16</cx:pt>
          <cx:pt idx="1346">25</cx:pt>
          <cx:pt idx="1347">2</cx:pt>
          <cx:pt idx="1348">1</cx:pt>
          <cx:pt idx="1349">1</cx:pt>
          <cx:pt idx="1350">2</cx:pt>
          <cx:pt idx="1351">22</cx:pt>
          <cx:pt idx="1352">1</cx:pt>
          <cx:pt idx="1353">16</cx:pt>
          <cx:pt idx="1354">24</cx:pt>
          <cx:pt idx="1355">17</cx:pt>
          <cx:pt idx="1356">8</cx:pt>
          <cx:pt idx="1357">6</cx:pt>
          <cx:pt idx="1358">10</cx:pt>
          <cx:pt idx="1359">3</cx:pt>
          <cx:pt idx="1360">4</cx:pt>
          <cx:pt idx="1361">6</cx:pt>
          <cx:pt idx="1362">1</cx:pt>
          <cx:pt idx="1363">10</cx:pt>
          <cx:pt idx="1364">1</cx:pt>
          <cx:pt idx="1365">24</cx:pt>
          <cx:pt idx="1366">21</cx:pt>
          <cx:pt idx="1367">2</cx:pt>
          <cx:pt idx="1368">22</cx:pt>
          <cx:pt idx="1369">13</cx:pt>
          <cx:pt idx="1370">14</cx:pt>
          <cx:pt idx="1371">11</cx:pt>
          <cx:pt idx="1372">9</cx:pt>
          <cx:pt idx="1373">8</cx:pt>
          <cx:pt idx="1374">21</cx:pt>
          <cx:pt idx="1375">5</cx:pt>
          <cx:pt idx="1376">9</cx:pt>
          <cx:pt idx="1377">2</cx:pt>
          <cx:pt idx="1378">12</cx:pt>
          <cx:pt idx="1379">22</cx:pt>
          <cx:pt idx="1380">18</cx:pt>
          <cx:pt idx="1381">16</cx:pt>
          <cx:pt idx="1382">3</cx:pt>
          <cx:pt idx="1383">9</cx:pt>
          <cx:pt idx="1384">1</cx:pt>
          <cx:pt idx="1385">13</cx:pt>
          <cx:pt idx="1386">1</cx:pt>
          <cx:pt idx="1387">1</cx:pt>
          <cx:pt idx="1388">15</cx:pt>
          <cx:pt idx="1389">1</cx:pt>
          <cx:pt idx="1390">17</cx:pt>
          <cx:pt idx="1391">1</cx:pt>
          <cx:pt idx="1392">7</cx:pt>
          <cx:pt idx="1393">9</cx:pt>
          <cx:pt idx="1394">5</cx:pt>
          <cx:pt idx="1395">26</cx:pt>
          <cx:pt idx="1396">24</cx:pt>
          <cx:pt idx="1397">9</cx:pt>
          <cx:pt idx="1398">7</cx:pt>
          <cx:pt idx="1399">11</cx:pt>
          <cx:pt idx="1400">1</cx:pt>
          <cx:pt idx="1401">26</cx:pt>
          <cx:pt idx="1402">2</cx:pt>
          <cx:pt idx="1403">15</cx:pt>
          <cx:pt idx="1404">23</cx:pt>
          <cx:pt idx="1405">10</cx:pt>
          <cx:pt idx="1406">10</cx:pt>
          <cx:pt idx="1407">1</cx:pt>
          <cx:pt idx="1408">12</cx:pt>
          <cx:pt idx="1409">11</cx:pt>
          <cx:pt idx="1410">2</cx:pt>
          <cx:pt idx="1411">2</cx:pt>
          <cx:pt idx="1412">1</cx:pt>
          <cx:pt idx="1413">2</cx:pt>
          <cx:pt idx="1414">25</cx:pt>
          <cx:pt idx="1415">1</cx:pt>
          <cx:pt idx="1416">1</cx:pt>
          <cx:pt idx="1417">2</cx:pt>
          <cx:pt idx="1418">6</cx:pt>
          <cx:pt idx="1419">18</cx:pt>
          <cx:pt idx="1420">1</cx:pt>
          <cx:pt idx="1421">1</cx:pt>
          <cx:pt idx="1422">11</cx:pt>
          <cx:pt idx="1423">1</cx:pt>
          <cx:pt idx="1424">9</cx:pt>
          <cx:pt idx="1425">15</cx:pt>
          <cx:pt idx="1426">29</cx:pt>
          <cx:pt idx="1427">1</cx:pt>
          <cx:pt idx="1428">1</cx:pt>
          <cx:pt idx="1429">24</cx:pt>
          <cx:pt idx="1430">10</cx:pt>
          <cx:pt idx="1431">1</cx:pt>
          <cx:pt idx="1432">10</cx:pt>
          <cx:pt idx="1433">8</cx:pt>
          <cx:pt idx="1434">29</cx:pt>
          <cx:pt idx="1435">1</cx:pt>
          <cx:pt idx="1436">5</cx:pt>
          <cx:pt idx="1437">9</cx:pt>
          <cx:pt idx="1438">9</cx:pt>
          <cx:pt idx="1439">3</cx:pt>
          <cx:pt idx="1440">4</cx:pt>
          <cx:pt idx="1441">1</cx:pt>
          <cx:pt idx="1442">1</cx:pt>
          <cx:pt idx="1443">2</cx:pt>
          <cx:pt idx="1444">7</cx:pt>
          <cx:pt idx="1445">28</cx:pt>
          <cx:pt idx="1446">28</cx:pt>
          <cx:pt idx="1447">15</cx:pt>
          <cx:pt idx="1448">3</cx:pt>
          <cx:pt idx="1449">2</cx:pt>
          <cx:pt idx="1450">26</cx:pt>
          <cx:pt idx="1451">10</cx:pt>
          <cx:pt idx="1452">1</cx:pt>
          <cx:pt idx="1453">11</cx:pt>
          <cx:pt idx="1454">20</cx:pt>
          <cx:pt idx="1455">2</cx:pt>
          <cx:pt idx="1456">18</cx:pt>
          <cx:pt idx="1457">2</cx:pt>
          <cx:pt idx="1458">1</cx:pt>
          <cx:pt idx="1459">13</cx:pt>
          <cx:pt idx="1460">28</cx:pt>
          <cx:pt idx="1461">28</cx:pt>
          <cx:pt idx="1462">24</cx:pt>
          <cx:pt idx="1463">5</cx:pt>
          <cx:pt idx="1464">5</cx:pt>
          <cx:pt idx="1465">23</cx:pt>
          <cx:pt idx="1466">6</cx:pt>
          <cx:pt idx="1467">4</cx:pt>
          <cx:pt idx="1468">2</cx:pt>
          <cx:pt idx="1469">8</cx:pt>
        </cx:lvl>
      </cx:numDim>
    </cx:data>
  </cx:chartData>
  <cx:chart>
    <cx:title pos="t" align="ctr" overlay="0">
      <cx:tx>
        <cx:txData>
          <cx:v>Distance From Home</cx:v>
        </cx:txData>
      </cx:tx>
      <cx:txPr>
        <a:bodyPr spcFirstLastPara="1" vertOverflow="ellipsis" horzOverflow="overflow" wrap="square" lIns="0" tIns="0" rIns="0" bIns="0" anchor="ctr" anchorCtr="1"/>
        <a:lstStyle/>
        <a:p>
          <a:pPr algn="ctr" rtl="0">
            <a:defRPr sz="1050"/>
          </a:pPr>
          <a:r>
            <a:rPr lang="en-US" sz="1200" b="0" i="0" u="none" strike="noStrike" baseline="0">
              <a:solidFill>
                <a:prstClr val="black">
                  <a:lumMod val="65000"/>
                  <a:lumOff val="35000"/>
                </a:prstClr>
              </a:solidFill>
              <a:latin typeface="Tenorite"/>
            </a:rPr>
            <a:t>Distance From Home</a:t>
          </a:r>
        </a:p>
      </cx:txPr>
    </cx:title>
    <cx:plotArea>
      <cx:plotAreaRegion>
        <cx:series layoutId="clusteredColumn" uniqueId="{1EB763C5-C5CD-4D58-9D48-7A5F71A02D04}">
          <cx:spPr>
            <a:solidFill>
              <a:srgbClr val="3B9EB1"/>
            </a:solidFill>
          </cx:spPr>
          <cx:dataLabels pos="outEnd">
            <cx:visibility seriesName="0" categoryName="0" value="1"/>
          </cx:dataLabels>
          <cx:dataId val="0"/>
          <cx:layoutPr>
            <cx:binning intervalClosed="r">
              <cx:binSize val="5"/>
            </cx:binning>
          </cx:layoutPr>
        </cx:series>
      </cx:plotAreaRegion>
      <cx:axis id="0">
        <cx:catScaling gapWidth="0.330000013"/>
        <cx:tickLabels/>
        <cx:txPr>
          <a:bodyPr vertOverflow="overflow" horzOverflow="overflow" wrap="square" lIns="0" tIns="0" rIns="0" bIns="0"/>
          <a:lstStyle/>
          <a:p>
            <a:pPr algn="ctr" rtl="0">
              <a:defRPr sz="900" b="0" i="0">
                <a:solidFill>
                  <a:srgbClr val="595959"/>
                </a:solidFill>
                <a:latin typeface="Tenorite" panose="00000500000000000000" pitchFamily="2" charset="0"/>
                <a:ea typeface="Tenorite" panose="00000500000000000000" pitchFamily="2" charset="0"/>
                <a:cs typeface="Tenorite" panose="00000500000000000000" pitchFamily="2" charset="0"/>
              </a:defRPr>
            </a:pPr>
            <a:endParaRPr lang="pt-PT" sz="900"/>
          </a:p>
        </cx:txPr>
      </cx:axis>
      <cx:axis id="1" hidden="1">
        <cx:valScaling/>
        <cx:title>
          <cx:tx>
            <cx:txData>
              <cx:v>Frequency</cx:v>
            </cx:txData>
          </cx:tx>
          <cx:txPr>
            <a:bodyPr vertOverflow="overflow" horzOverflow="overflow" wrap="square" lIns="0" tIns="0" rIns="0" bIns="0"/>
            <a:lstStyle/>
            <a:p>
              <a:pPr algn="ctr" rtl="0">
                <a:defRPr sz="1050" b="0" i="0">
                  <a:solidFill>
                    <a:srgbClr val="595959"/>
                  </a:solidFill>
                  <a:latin typeface="Tenorite" panose="00000500000000000000" pitchFamily="2" charset="0"/>
                  <a:ea typeface="Tenorite" panose="00000500000000000000" pitchFamily="2" charset="0"/>
                  <a:cs typeface="Tenorite" panose="00000500000000000000" pitchFamily="2" charset="0"/>
                </a:defRPr>
              </a:pPr>
              <a:r>
                <a:rPr lang="pt-PT" sz="1050"/>
                <a:t>Frequency</a:t>
              </a:r>
            </a:p>
          </cx:txPr>
        </cx:title>
        <cx:tickLabels/>
        <cx:txPr>
          <a:bodyPr vertOverflow="overflow" horzOverflow="overflow" wrap="square" lIns="0" tIns="0" rIns="0" bIns="0"/>
          <a:lstStyle/>
          <a:p>
            <a:pPr algn="ctr" rtl="0">
              <a:defRPr sz="1050" b="0" i="0">
                <a:solidFill>
                  <a:srgbClr val="595959"/>
                </a:solidFill>
                <a:latin typeface="Tenorite" panose="00000500000000000000" pitchFamily="2" charset="0"/>
                <a:ea typeface="Tenorite" panose="00000500000000000000" pitchFamily="2" charset="0"/>
                <a:cs typeface="Tenorite" panose="00000500000000000000" pitchFamily="2" charset="0"/>
              </a:defRPr>
            </a:pPr>
            <a:endParaRPr lang="pt-PT" sz="1050"/>
          </a:p>
        </cx:txPr>
      </cx:axis>
    </cx:plotArea>
  </cx:chart>
  <cx:spPr>
    <a:noFill/>
    <a:ln>
      <a:solidFill>
        <a:schemeClr val="bg1">
          <a:lumMod val="95000"/>
        </a:schemeClr>
      </a:solidFill>
    </a:ln>
  </cx:spPr>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7">
  <a:schemeClr val="accent4"/>
</cs:colorStyle>
</file>

<file path=ppt/charts/colors4.xml><?xml version="1.0" encoding="utf-8"?>
<cs:colorStyle xmlns:cs="http://schemas.microsoft.com/office/drawing/2012/chartStyle" xmlns:a="http://schemas.openxmlformats.org/drawingml/2006/main" meth="withinLinear" id="17">
  <a:schemeClr val="accent4"/>
</cs:colorStyle>
</file>

<file path=ppt/charts/colors5.xml><?xml version="1.0" encoding="utf-8"?>
<cs:colorStyle xmlns:cs="http://schemas.microsoft.com/office/drawing/2012/chartStyle" xmlns:a="http://schemas.openxmlformats.org/drawingml/2006/main" meth="withinLinear" id="17">
  <a:schemeClr val="accent4"/>
</cs:colorStyle>
</file>

<file path=ppt/charts/colors6.xml><?xml version="1.0" encoding="utf-8"?>
<cs:colorStyle xmlns:cs="http://schemas.microsoft.com/office/drawing/2012/chartStyle" xmlns:a="http://schemas.openxmlformats.org/drawingml/2006/main" meth="withinLinear" id="17">
  <a:schemeClr val="accent4"/>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E05AFF-2F1B-4502-813A-248799BF6F4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pt-PT"/>
        </a:p>
      </dgm:t>
    </dgm:pt>
    <dgm:pt modelId="{47951727-8561-41D7-A3C0-CB89F6A66465}">
      <dgm:prSet phldrT="[Text]" custT="1"/>
      <dgm:spPr/>
      <dgm:t>
        <a:bodyPr/>
        <a:lstStyle/>
        <a:p>
          <a:r>
            <a:rPr lang="pt-PT" sz="2000" b="1" spc="150" baseline="0">
              <a:latin typeface="Tenorite" panose="00000500000000000000" pitchFamily="2" charset="0"/>
            </a:rPr>
            <a:t>ATTRITION</a:t>
          </a:r>
        </a:p>
      </dgm:t>
    </dgm:pt>
    <dgm:pt modelId="{E6D24430-1437-4839-829E-15589A4C81E1}" type="parTrans" cxnId="{F1177AE0-AC93-450C-B128-A06D841D4EA6}">
      <dgm:prSet/>
      <dgm:spPr/>
      <dgm:t>
        <a:bodyPr/>
        <a:lstStyle/>
        <a:p>
          <a:endParaRPr lang="pt-PT" sz="2000">
            <a:latin typeface="Tenorite" panose="00000500000000000000" pitchFamily="2" charset="0"/>
          </a:endParaRPr>
        </a:p>
      </dgm:t>
    </dgm:pt>
    <dgm:pt modelId="{E62880D9-969D-48E9-A42F-E89EC7E6EC0E}" type="sibTrans" cxnId="{F1177AE0-AC93-450C-B128-A06D841D4EA6}">
      <dgm:prSet/>
      <dgm:spPr/>
      <dgm:t>
        <a:bodyPr/>
        <a:lstStyle/>
        <a:p>
          <a:endParaRPr lang="pt-PT" sz="2000">
            <a:latin typeface="Tenorite" panose="00000500000000000000" pitchFamily="2" charset="0"/>
          </a:endParaRPr>
        </a:p>
      </dgm:t>
    </dgm:pt>
    <dgm:pt modelId="{194D3193-0950-469D-9E07-01FA62508C69}">
      <dgm:prSet phldrT="[Text]" custT="1"/>
      <dgm:spPr/>
      <dgm:t>
        <a:bodyPr/>
        <a:lstStyle/>
        <a:p>
          <a:r>
            <a:rPr lang="pt-PT" sz="2000" b="1" spc="150" baseline="0">
              <a:latin typeface="Tenorite" panose="00000500000000000000" pitchFamily="2" charset="0"/>
            </a:rPr>
            <a:t>TENURE</a:t>
          </a:r>
          <a:endParaRPr lang="pt-PT" sz="2000">
            <a:latin typeface="Tenorite" panose="00000500000000000000" pitchFamily="2" charset="0"/>
          </a:endParaRPr>
        </a:p>
      </dgm:t>
    </dgm:pt>
    <dgm:pt modelId="{F635384D-2337-43E8-B8EF-39A7DAF6F02A}" type="parTrans" cxnId="{8F903C60-1C54-4C07-ADFE-4866E2DFE52D}">
      <dgm:prSet/>
      <dgm:spPr/>
      <dgm:t>
        <a:bodyPr/>
        <a:lstStyle/>
        <a:p>
          <a:endParaRPr lang="pt-PT" sz="2000">
            <a:latin typeface="Tenorite" panose="00000500000000000000" pitchFamily="2" charset="0"/>
          </a:endParaRPr>
        </a:p>
      </dgm:t>
    </dgm:pt>
    <dgm:pt modelId="{141120FA-D31B-4649-9CD7-81B5F7E109C5}" type="sibTrans" cxnId="{8F903C60-1C54-4C07-ADFE-4866E2DFE52D}">
      <dgm:prSet/>
      <dgm:spPr/>
      <dgm:t>
        <a:bodyPr/>
        <a:lstStyle/>
        <a:p>
          <a:endParaRPr lang="pt-PT" sz="2000">
            <a:latin typeface="Tenorite" panose="00000500000000000000" pitchFamily="2" charset="0"/>
          </a:endParaRPr>
        </a:p>
      </dgm:t>
    </dgm:pt>
    <dgm:pt modelId="{2678C3F4-ABF2-4B8D-95B3-5FE23BDF3897}">
      <dgm:prSet phldrT="[Text]" custT="1"/>
      <dgm:spPr/>
      <dgm:t>
        <a:bodyPr/>
        <a:lstStyle/>
        <a:p>
          <a:r>
            <a:rPr lang="pt-PT" sz="2000" b="1" spc="150" baseline="0">
              <a:latin typeface="Tenorite" panose="00000500000000000000" pitchFamily="2" charset="0"/>
            </a:rPr>
            <a:t>RESIGNATION</a:t>
          </a:r>
          <a:endParaRPr lang="pt-PT" sz="2000">
            <a:latin typeface="Tenorite" panose="00000500000000000000" pitchFamily="2" charset="0"/>
          </a:endParaRPr>
        </a:p>
      </dgm:t>
    </dgm:pt>
    <dgm:pt modelId="{34FF2C7C-4A46-4387-93DB-DEEFA8C13EB3}" type="parTrans" cxnId="{E0034517-4E40-4506-808D-80DD7A01B5F9}">
      <dgm:prSet/>
      <dgm:spPr/>
      <dgm:t>
        <a:bodyPr/>
        <a:lstStyle/>
        <a:p>
          <a:endParaRPr lang="pt-PT" sz="2000">
            <a:latin typeface="Tenorite" panose="00000500000000000000" pitchFamily="2" charset="0"/>
          </a:endParaRPr>
        </a:p>
      </dgm:t>
    </dgm:pt>
    <dgm:pt modelId="{98FA5CD7-8B11-4CCB-980B-9E1F164259B1}" type="sibTrans" cxnId="{E0034517-4E40-4506-808D-80DD7A01B5F9}">
      <dgm:prSet/>
      <dgm:spPr/>
      <dgm:t>
        <a:bodyPr/>
        <a:lstStyle/>
        <a:p>
          <a:endParaRPr lang="pt-PT" sz="2000">
            <a:latin typeface="Tenorite" panose="00000500000000000000" pitchFamily="2" charset="0"/>
          </a:endParaRPr>
        </a:p>
      </dgm:t>
    </dgm:pt>
    <dgm:pt modelId="{D6813AC2-7B2C-4D88-B316-FA531680C08C}">
      <dgm:prSet custT="1"/>
      <dgm:spPr/>
      <dgm:t>
        <a:bodyPr/>
        <a:lstStyle/>
        <a:p>
          <a:r>
            <a:rPr lang="pt-PT" sz="2000" b="1" spc="150" baseline="0">
              <a:latin typeface="Tenorite" panose="00000500000000000000" pitchFamily="2" charset="0"/>
            </a:rPr>
            <a:t>COSTS</a:t>
          </a:r>
          <a:endParaRPr lang="pt-PT" sz="2000">
            <a:latin typeface="Tenorite" panose="00000500000000000000" pitchFamily="2" charset="0"/>
          </a:endParaRPr>
        </a:p>
      </dgm:t>
    </dgm:pt>
    <dgm:pt modelId="{09870A42-A67B-4054-9AD9-86E8AE3F4E2F}" type="parTrans" cxnId="{5478B882-467C-4FCE-811F-166B7BFBBB15}">
      <dgm:prSet/>
      <dgm:spPr/>
      <dgm:t>
        <a:bodyPr/>
        <a:lstStyle/>
        <a:p>
          <a:endParaRPr lang="pt-PT" sz="2000">
            <a:latin typeface="Tenorite" panose="00000500000000000000" pitchFamily="2" charset="0"/>
          </a:endParaRPr>
        </a:p>
      </dgm:t>
    </dgm:pt>
    <dgm:pt modelId="{70B2E789-080E-4BE4-86B0-169B8FF4FF00}" type="sibTrans" cxnId="{5478B882-467C-4FCE-811F-166B7BFBBB15}">
      <dgm:prSet/>
      <dgm:spPr/>
      <dgm:t>
        <a:bodyPr/>
        <a:lstStyle/>
        <a:p>
          <a:endParaRPr lang="pt-PT" sz="2000">
            <a:latin typeface="Tenorite" panose="00000500000000000000" pitchFamily="2" charset="0"/>
          </a:endParaRPr>
        </a:p>
      </dgm:t>
    </dgm:pt>
    <dgm:pt modelId="{0446BBE3-7351-4395-953D-617C4575551F}" type="pres">
      <dgm:prSet presAssocID="{BAE05AFF-2F1B-4502-813A-248799BF6F47}" presName="vert0" presStyleCnt="0">
        <dgm:presLayoutVars>
          <dgm:dir/>
          <dgm:animOne val="branch"/>
          <dgm:animLvl val="lvl"/>
        </dgm:presLayoutVars>
      </dgm:prSet>
      <dgm:spPr/>
    </dgm:pt>
    <dgm:pt modelId="{DF8C8741-2E10-4087-A10B-6F8DF05D68F8}" type="pres">
      <dgm:prSet presAssocID="{47951727-8561-41D7-A3C0-CB89F6A66465}" presName="thickLine" presStyleLbl="alignNode1" presStyleIdx="0" presStyleCnt="4" custLinFactNeighborX="-869" custLinFactNeighborY="-53035"/>
      <dgm:spPr/>
    </dgm:pt>
    <dgm:pt modelId="{C4AB5A88-ECC2-458E-A7D1-EBDBD2FBE0F0}" type="pres">
      <dgm:prSet presAssocID="{47951727-8561-41D7-A3C0-CB89F6A66465}" presName="horz1" presStyleCnt="0"/>
      <dgm:spPr/>
    </dgm:pt>
    <dgm:pt modelId="{3A3F634F-F0CA-496A-BDA1-CFF3BF0375D1}" type="pres">
      <dgm:prSet presAssocID="{47951727-8561-41D7-A3C0-CB89F6A66465}" presName="tx1" presStyleLbl="revTx" presStyleIdx="0" presStyleCnt="4"/>
      <dgm:spPr/>
    </dgm:pt>
    <dgm:pt modelId="{E696807F-F32E-4A8B-A706-549421990E3E}" type="pres">
      <dgm:prSet presAssocID="{47951727-8561-41D7-A3C0-CB89F6A66465}" presName="vert1" presStyleCnt="0"/>
      <dgm:spPr/>
    </dgm:pt>
    <dgm:pt modelId="{45ADB1E2-D1EA-44CF-9BED-563458E43699}" type="pres">
      <dgm:prSet presAssocID="{194D3193-0950-469D-9E07-01FA62508C69}" presName="thickLine" presStyleLbl="alignNode1" presStyleIdx="1" presStyleCnt="4"/>
      <dgm:spPr/>
    </dgm:pt>
    <dgm:pt modelId="{10318B95-4B55-4C66-B6D8-F16BBFBE15F0}" type="pres">
      <dgm:prSet presAssocID="{194D3193-0950-469D-9E07-01FA62508C69}" presName="horz1" presStyleCnt="0"/>
      <dgm:spPr/>
    </dgm:pt>
    <dgm:pt modelId="{451FC847-6485-41D4-975B-3507CA98ED10}" type="pres">
      <dgm:prSet presAssocID="{194D3193-0950-469D-9E07-01FA62508C69}" presName="tx1" presStyleLbl="revTx" presStyleIdx="1" presStyleCnt="4"/>
      <dgm:spPr/>
    </dgm:pt>
    <dgm:pt modelId="{E1B1CD84-35FB-4530-A9D5-F2F9853A1930}" type="pres">
      <dgm:prSet presAssocID="{194D3193-0950-469D-9E07-01FA62508C69}" presName="vert1" presStyleCnt="0"/>
      <dgm:spPr/>
    </dgm:pt>
    <dgm:pt modelId="{07446256-9107-47AF-9C09-60E17F4CDFFE}" type="pres">
      <dgm:prSet presAssocID="{2678C3F4-ABF2-4B8D-95B3-5FE23BDF3897}" presName="thickLine" presStyleLbl="alignNode1" presStyleIdx="2" presStyleCnt="4"/>
      <dgm:spPr/>
    </dgm:pt>
    <dgm:pt modelId="{9816D351-3E62-4F93-8CC5-37E5FA2AADB1}" type="pres">
      <dgm:prSet presAssocID="{2678C3F4-ABF2-4B8D-95B3-5FE23BDF3897}" presName="horz1" presStyleCnt="0"/>
      <dgm:spPr/>
    </dgm:pt>
    <dgm:pt modelId="{3F677319-5ECF-4609-8808-83226154C14B}" type="pres">
      <dgm:prSet presAssocID="{2678C3F4-ABF2-4B8D-95B3-5FE23BDF3897}" presName="tx1" presStyleLbl="revTx" presStyleIdx="2" presStyleCnt="4"/>
      <dgm:spPr/>
    </dgm:pt>
    <dgm:pt modelId="{3AFCAA7F-AEDC-4886-9BE1-016131FC17E7}" type="pres">
      <dgm:prSet presAssocID="{2678C3F4-ABF2-4B8D-95B3-5FE23BDF3897}" presName="vert1" presStyleCnt="0"/>
      <dgm:spPr/>
    </dgm:pt>
    <dgm:pt modelId="{026D8DF4-2694-458C-9967-921F6BEF5E5F}" type="pres">
      <dgm:prSet presAssocID="{D6813AC2-7B2C-4D88-B316-FA531680C08C}" presName="thickLine" presStyleLbl="alignNode1" presStyleIdx="3" presStyleCnt="4"/>
      <dgm:spPr/>
    </dgm:pt>
    <dgm:pt modelId="{B148745F-72BB-4461-8F31-7F45C36DB4B5}" type="pres">
      <dgm:prSet presAssocID="{D6813AC2-7B2C-4D88-B316-FA531680C08C}" presName="horz1" presStyleCnt="0"/>
      <dgm:spPr/>
    </dgm:pt>
    <dgm:pt modelId="{7F72ACF4-36E8-4A16-8060-8C8472A9ECE3}" type="pres">
      <dgm:prSet presAssocID="{D6813AC2-7B2C-4D88-B316-FA531680C08C}" presName="tx1" presStyleLbl="revTx" presStyleIdx="3" presStyleCnt="4"/>
      <dgm:spPr/>
    </dgm:pt>
    <dgm:pt modelId="{2E2C6E96-8BA9-436C-88C7-AE04E4137E86}" type="pres">
      <dgm:prSet presAssocID="{D6813AC2-7B2C-4D88-B316-FA531680C08C}" presName="vert1" presStyleCnt="0"/>
      <dgm:spPr/>
    </dgm:pt>
  </dgm:ptLst>
  <dgm:cxnLst>
    <dgm:cxn modelId="{53E0CE01-AC80-4DC1-87F9-B626AA8C1B80}" type="presOf" srcId="{194D3193-0950-469D-9E07-01FA62508C69}" destId="{451FC847-6485-41D4-975B-3507CA98ED10}" srcOrd="0" destOrd="0" presId="urn:microsoft.com/office/officeart/2008/layout/LinedList"/>
    <dgm:cxn modelId="{03D9920E-2D95-4B61-8E32-A0322606A01A}" type="presOf" srcId="{D6813AC2-7B2C-4D88-B316-FA531680C08C}" destId="{7F72ACF4-36E8-4A16-8060-8C8472A9ECE3}" srcOrd="0" destOrd="0" presId="urn:microsoft.com/office/officeart/2008/layout/LinedList"/>
    <dgm:cxn modelId="{D6C41815-FEE2-4962-B49C-912C0170E077}" type="presOf" srcId="{47951727-8561-41D7-A3C0-CB89F6A66465}" destId="{3A3F634F-F0CA-496A-BDA1-CFF3BF0375D1}" srcOrd="0" destOrd="0" presId="urn:microsoft.com/office/officeart/2008/layout/LinedList"/>
    <dgm:cxn modelId="{E0034517-4E40-4506-808D-80DD7A01B5F9}" srcId="{BAE05AFF-2F1B-4502-813A-248799BF6F47}" destId="{2678C3F4-ABF2-4B8D-95B3-5FE23BDF3897}" srcOrd="2" destOrd="0" parTransId="{34FF2C7C-4A46-4387-93DB-DEEFA8C13EB3}" sibTransId="{98FA5CD7-8B11-4CCB-980B-9E1F164259B1}"/>
    <dgm:cxn modelId="{8F903C60-1C54-4C07-ADFE-4866E2DFE52D}" srcId="{BAE05AFF-2F1B-4502-813A-248799BF6F47}" destId="{194D3193-0950-469D-9E07-01FA62508C69}" srcOrd="1" destOrd="0" parTransId="{F635384D-2337-43E8-B8EF-39A7DAF6F02A}" sibTransId="{141120FA-D31B-4649-9CD7-81B5F7E109C5}"/>
    <dgm:cxn modelId="{5478B882-467C-4FCE-811F-166B7BFBBB15}" srcId="{BAE05AFF-2F1B-4502-813A-248799BF6F47}" destId="{D6813AC2-7B2C-4D88-B316-FA531680C08C}" srcOrd="3" destOrd="0" parTransId="{09870A42-A67B-4054-9AD9-86E8AE3F4E2F}" sibTransId="{70B2E789-080E-4BE4-86B0-169B8FF4FF00}"/>
    <dgm:cxn modelId="{990526BC-AE7E-46CD-9A64-2064A77AA2AF}" type="presOf" srcId="{BAE05AFF-2F1B-4502-813A-248799BF6F47}" destId="{0446BBE3-7351-4395-953D-617C4575551F}" srcOrd="0" destOrd="0" presId="urn:microsoft.com/office/officeart/2008/layout/LinedList"/>
    <dgm:cxn modelId="{419B27BC-FD5F-4324-B87F-B545ED975EBC}" type="presOf" srcId="{2678C3F4-ABF2-4B8D-95B3-5FE23BDF3897}" destId="{3F677319-5ECF-4609-8808-83226154C14B}" srcOrd="0" destOrd="0" presId="urn:microsoft.com/office/officeart/2008/layout/LinedList"/>
    <dgm:cxn modelId="{F1177AE0-AC93-450C-B128-A06D841D4EA6}" srcId="{BAE05AFF-2F1B-4502-813A-248799BF6F47}" destId="{47951727-8561-41D7-A3C0-CB89F6A66465}" srcOrd="0" destOrd="0" parTransId="{E6D24430-1437-4839-829E-15589A4C81E1}" sibTransId="{E62880D9-969D-48E9-A42F-E89EC7E6EC0E}"/>
    <dgm:cxn modelId="{4CE77ECF-C40B-4915-A6D4-00B3E5852400}" type="presParOf" srcId="{0446BBE3-7351-4395-953D-617C4575551F}" destId="{DF8C8741-2E10-4087-A10B-6F8DF05D68F8}" srcOrd="0" destOrd="0" presId="urn:microsoft.com/office/officeart/2008/layout/LinedList"/>
    <dgm:cxn modelId="{5F00416C-CA09-4F45-8406-D53552A2F3AE}" type="presParOf" srcId="{0446BBE3-7351-4395-953D-617C4575551F}" destId="{C4AB5A88-ECC2-458E-A7D1-EBDBD2FBE0F0}" srcOrd="1" destOrd="0" presId="urn:microsoft.com/office/officeart/2008/layout/LinedList"/>
    <dgm:cxn modelId="{F0DAC6C6-6041-4F48-8281-3CF995611A6E}" type="presParOf" srcId="{C4AB5A88-ECC2-458E-A7D1-EBDBD2FBE0F0}" destId="{3A3F634F-F0CA-496A-BDA1-CFF3BF0375D1}" srcOrd="0" destOrd="0" presId="urn:microsoft.com/office/officeart/2008/layout/LinedList"/>
    <dgm:cxn modelId="{34332BF0-234D-4A72-ACA7-B2ED1C60D92A}" type="presParOf" srcId="{C4AB5A88-ECC2-458E-A7D1-EBDBD2FBE0F0}" destId="{E696807F-F32E-4A8B-A706-549421990E3E}" srcOrd="1" destOrd="0" presId="urn:microsoft.com/office/officeart/2008/layout/LinedList"/>
    <dgm:cxn modelId="{07F97BDE-12C9-40B4-AC67-BF4E31C1CD4C}" type="presParOf" srcId="{0446BBE3-7351-4395-953D-617C4575551F}" destId="{45ADB1E2-D1EA-44CF-9BED-563458E43699}" srcOrd="2" destOrd="0" presId="urn:microsoft.com/office/officeart/2008/layout/LinedList"/>
    <dgm:cxn modelId="{446F34E3-F106-4813-BF4C-DB7D54E298DC}" type="presParOf" srcId="{0446BBE3-7351-4395-953D-617C4575551F}" destId="{10318B95-4B55-4C66-B6D8-F16BBFBE15F0}" srcOrd="3" destOrd="0" presId="urn:microsoft.com/office/officeart/2008/layout/LinedList"/>
    <dgm:cxn modelId="{A38E731A-C260-4F92-A463-921738B10657}" type="presParOf" srcId="{10318B95-4B55-4C66-B6D8-F16BBFBE15F0}" destId="{451FC847-6485-41D4-975B-3507CA98ED10}" srcOrd="0" destOrd="0" presId="urn:microsoft.com/office/officeart/2008/layout/LinedList"/>
    <dgm:cxn modelId="{E050A8BC-A7E0-4E2B-8E35-EFFB9D870DD3}" type="presParOf" srcId="{10318B95-4B55-4C66-B6D8-F16BBFBE15F0}" destId="{E1B1CD84-35FB-4530-A9D5-F2F9853A1930}" srcOrd="1" destOrd="0" presId="urn:microsoft.com/office/officeart/2008/layout/LinedList"/>
    <dgm:cxn modelId="{A36C0A20-DF58-4F6F-B207-FD4EEE6F6224}" type="presParOf" srcId="{0446BBE3-7351-4395-953D-617C4575551F}" destId="{07446256-9107-47AF-9C09-60E17F4CDFFE}" srcOrd="4" destOrd="0" presId="urn:microsoft.com/office/officeart/2008/layout/LinedList"/>
    <dgm:cxn modelId="{10F821B3-E69F-4AF3-A5E3-58CA3699C088}" type="presParOf" srcId="{0446BBE3-7351-4395-953D-617C4575551F}" destId="{9816D351-3E62-4F93-8CC5-37E5FA2AADB1}" srcOrd="5" destOrd="0" presId="urn:microsoft.com/office/officeart/2008/layout/LinedList"/>
    <dgm:cxn modelId="{422CEE3C-D79A-49B5-89EA-F008B8956CF4}" type="presParOf" srcId="{9816D351-3E62-4F93-8CC5-37E5FA2AADB1}" destId="{3F677319-5ECF-4609-8808-83226154C14B}" srcOrd="0" destOrd="0" presId="urn:microsoft.com/office/officeart/2008/layout/LinedList"/>
    <dgm:cxn modelId="{BE93FFAF-BCDC-4B25-87B2-B99CCEC09076}" type="presParOf" srcId="{9816D351-3E62-4F93-8CC5-37E5FA2AADB1}" destId="{3AFCAA7F-AEDC-4886-9BE1-016131FC17E7}" srcOrd="1" destOrd="0" presId="urn:microsoft.com/office/officeart/2008/layout/LinedList"/>
    <dgm:cxn modelId="{26E84072-4E4F-48C4-A079-135C6315899B}" type="presParOf" srcId="{0446BBE3-7351-4395-953D-617C4575551F}" destId="{026D8DF4-2694-458C-9967-921F6BEF5E5F}" srcOrd="6" destOrd="0" presId="urn:microsoft.com/office/officeart/2008/layout/LinedList"/>
    <dgm:cxn modelId="{29422869-E263-4B07-AEC9-5EEAA490D8C1}" type="presParOf" srcId="{0446BBE3-7351-4395-953D-617C4575551F}" destId="{B148745F-72BB-4461-8F31-7F45C36DB4B5}" srcOrd="7" destOrd="0" presId="urn:microsoft.com/office/officeart/2008/layout/LinedList"/>
    <dgm:cxn modelId="{0972F54C-66E7-4983-B07B-3112D0AC8F6D}" type="presParOf" srcId="{B148745F-72BB-4461-8F31-7F45C36DB4B5}" destId="{7F72ACF4-36E8-4A16-8060-8C8472A9ECE3}" srcOrd="0" destOrd="0" presId="urn:microsoft.com/office/officeart/2008/layout/LinedList"/>
    <dgm:cxn modelId="{9656787B-FDB7-4C48-B995-DDBEC5E903A8}" type="presParOf" srcId="{B148745F-72BB-4461-8F31-7F45C36DB4B5}" destId="{2E2C6E96-8BA9-436C-88C7-AE04E4137E8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AE05AFF-2F1B-4502-813A-248799BF6F4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pt-PT"/>
        </a:p>
      </dgm:t>
    </dgm:pt>
    <dgm:pt modelId="{47951727-8561-41D7-A3C0-CB89F6A66465}">
      <dgm:prSet phldrT="[Text]" custT="1"/>
      <dgm:spPr/>
      <dgm:t>
        <a:bodyPr/>
        <a:lstStyle/>
        <a:p>
          <a:r>
            <a:rPr lang="en-US" sz="2000" noProof="0">
              <a:latin typeface="Tenorite" panose="00000500000000000000" pitchFamily="2" charset="0"/>
            </a:rPr>
            <a:t>Team Profile</a:t>
          </a:r>
        </a:p>
      </dgm:t>
    </dgm:pt>
    <dgm:pt modelId="{E6D24430-1437-4839-829E-15589A4C81E1}" type="parTrans" cxnId="{F1177AE0-AC93-450C-B128-A06D841D4EA6}">
      <dgm:prSet/>
      <dgm:spPr/>
      <dgm:t>
        <a:bodyPr/>
        <a:lstStyle/>
        <a:p>
          <a:endParaRPr lang="pt-PT" sz="2000">
            <a:latin typeface="Tenorite" panose="00000500000000000000" pitchFamily="2" charset="0"/>
          </a:endParaRPr>
        </a:p>
      </dgm:t>
    </dgm:pt>
    <dgm:pt modelId="{E62880D9-969D-48E9-A42F-E89EC7E6EC0E}" type="sibTrans" cxnId="{F1177AE0-AC93-450C-B128-A06D841D4EA6}">
      <dgm:prSet/>
      <dgm:spPr/>
      <dgm:t>
        <a:bodyPr/>
        <a:lstStyle/>
        <a:p>
          <a:endParaRPr lang="pt-PT" sz="2000">
            <a:latin typeface="Tenorite" panose="00000500000000000000" pitchFamily="2" charset="0"/>
          </a:endParaRPr>
        </a:p>
      </dgm:t>
    </dgm:pt>
    <dgm:pt modelId="{194D3193-0950-469D-9E07-01FA62508C69}">
      <dgm:prSet phldrT="[Text]" custT="1"/>
      <dgm:spPr/>
      <dgm:t>
        <a:bodyPr/>
        <a:lstStyle/>
        <a:p>
          <a:r>
            <a:rPr lang="en-US" sz="2000" noProof="0">
              <a:latin typeface="Tenorite" panose="00000500000000000000" pitchFamily="2" charset="0"/>
            </a:rPr>
            <a:t>Main Factors Causing Attrition</a:t>
          </a:r>
        </a:p>
      </dgm:t>
    </dgm:pt>
    <dgm:pt modelId="{F635384D-2337-43E8-B8EF-39A7DAF6F02A}" type="parTrans" cxnId="{8F903C60-1C54-4C07-ADFE-4866E2DFE52D}">
      <dgm:prSet/>
      <dgm:spPr/>
      <dgm:t>
        <a:bodyPr/>
        <a:lstStyle/>
        <a:p>
          <a:endParaRPr lang="pt-PT" sz="2000">
            <a:latin typeface="Tenorite" panose="00000500000000000000" pitchFamily="2" charset="0"/>
          </a:endParaRPr>
        </a:p>
      </dgm:t>
    </dgm:pt>
    <dgm:pt modelId="{141120FA-D31B-4649-9CD7-81B5F7E109C5}" type="sibTrans" cxnId="{8F903C60-1C54-4C07-ADFE-4866E2DFE52D}">
      <dgm:prSet/>
      <dgm:spPr/>
      <dgm:t>
        <a:bodyPr/>
        <a:lstStyle/>
        <a:p>
          <a:endParaRPr lang="pt-PT" sz="2000">
            <a:latin typeface="Tenorite" panose="00000500000000000000" pitchFamily="2" charset="0"/>
          </a:endParaRPr>
        </a:p>
      </dgm:t>
    </dgm:pt>
    <dgm:pt modelId="{2678C3F4-ABF2-4B8D-95B3-5FE23BDF3897}">
      <dgm:prSet phldrT="[Text]" custT="1"/>
      <dgm:spPr/>
      <dgm:t>
        <a:bodyPr/>
        <a:lstStyle/>
        <a:p>
          <a:r>
            <a:rPr lang="en-US" sz="2000" noProof="0">
              <a:latin typeface="Tenorite" panose="00000500000000000000" pitchFamily="2" charset="0"/>
            </a:rPr>
            <a:t>Employee Attrition Rate</a:t>
          </a:r>
        </a:p>
      </dgm:t>
    </dgm:pt>
    <dgm:pt modelId="{34FF2C7C-4A46-4387-93DB-DEEFA8C13EB3}" type="parTrans" cxnId="{E0034517-4E40-4506-808D-80DD7A01B5F9}">
      <dgm:prSet/>
      <dgm:spPr/>
      <dgm:t>
        <a:bodyPr/>
        <a:lstStyle/>
        <a:p>
          <a:endParaRPr lang="pt-PT" sz="2000">
            <a:latin typeface="Tenorite" panose="00000500000000000000" pitchFamily="2" charset="0"/>
          </a:endParaRPr>
        </a:p>
      </dgm:t>
    </dgm:pt>
    <dgm:pt modelId="{98FA5CD7-8B11-4CCB-980B-9E1F164259B1}" type="sibTrans" cxnId="{E0034517-4E40-4506-808D-80DD7A01B5F9}">
      <dgm:prSet/>
      <dgm:spPr/>
      <dgm:t>
        <a:bodyPr/>
        <a:lstStyle/>
        <a:p>
          <a:endParaRPr lang="pt-PT" sz="2000">
            <a:latin typeface="Tenorite" panose="00000500000000000000" pitchFamily="2" charset="0"/>
          </a:endParaRPr>
        </a:p>
      </dgm:t>
    </dgm:pt>
    <dgm:pt modelId="{D6813AC2-7B2C-4D88-B316-FA531680C08C}">
      <dgm:prSet custT="1"/>
      <dgm:spPr/>
      <dgm:t>
        <a:bodyPr/>
        <a:lstStyle/>
        <a:p>
          <a:r>
            <a:rPr lang="en-US" sz="2000" noProof="0">
              <a:latin typeface="Tenorite" panose="00000500000000000000" pitchFamily="2" charset="0"/>
            </a:rPr>
            <a:t>Retention Strategies</a:t>
          </a:r>
        </a:p>
      </dgm:t>
    </dgm:pt>
    <dgm:pt modelId="{09870A42-A67B-4054-9AD9-86E8AE3F4E2F}" type="parTrans" cxnId="{5478B882-467C-4FCE-811F-166B7BFBBB15}">
      <dgm:prSet/>
      <dgm:spPr/>
      <dgm:t>
        <a:bodyPr/>
        <a:lstStyle/>
        <a:p>
          <a:endParaRPr lang="pt-PT" sz="2000">
            <a:latin typeface="Tenorite" panose="00000500000000000000" pitchFamily="2" charset="0"/>
          </a:endParaRPr>
        </a:p>
      </dgm:t>
    </dgm:pt>
    <dgm:pt modelId="{70B2E789-080E-4BE4-86B0-169B8FF4FF00}" type="sibTrans" cxnId="{5478B882-467C-4FCE-811F-166B7BFBBB15}">
      <dgm:prSet/>
      <dgm:spPr/>
      <dgm:t>
        <a:bodyPr/>
        <a:lstStyle/>
        <a:p>
          <a:endParaRPr lang="pt-PT" sz="2000">
            <a:latin typeface="Tenorite" panose="00000500000000000000" pitchFamily="2" charset="0"/>
          </a:endParaRPr>
        </a:p>
      </dgm:t>
    </dgm:pt>
    <dgm:pt modelId="{0446BBE3-7351-4395-953D-617C4575551F}" type="pres">
      <dgm:prSet presAssocID="{BAE05AFF-2F1B-4502-813A-248799BF6F47}" presName="vert0" presStyleCnt="0">
        <dgm:presLayoutVars>
          <dgm:dir/>
          <dgm:animOne val="branch"/>
          <dgm:animLvl val="lvl"/>
        </dgm:presLayoutVars>
      </dgm:prSet>
      <dgm:spPr/>
    </dgm:pt>
    <dgm:pt modelId="{DF8C8741-2E10-4087-A10B-6F8DF05D68F8}" type="pres">
      <dgm:prSet presAssocID="{47951727-8561-41D7-A3C0-CB89F6A66465}" presName="thickLine" presStyleLbl="alignNode1" presStyleIdx="0" presStyleCnt="4" custLinFactNeighborX="-869" custLinFactNeighborY="-53035"/>
      <dgm:spPr/>
    </dgm:pt>
    <dgm:pt modelId="{C4AB5A88-ECC2-458E-A7D1-EBDBD2FBE0F0}" type="pres">
      <dgm:prSet presAssocID="{47951727-8561-41D7-A3C0-CB89F6A66465}" presName="horz1" presStyleCnt="0"/>
      <dgm:spPr/>
    </dgm:pt>
    <dgm:pt modelId="{3A3F634F-F0CA-496A-BDA1-CFF3BF0375D1}" type="pres">
      <dgm:prSet presAssocID="{47951727-8561-41D7-A3C0-CB89F6A66465}" presName="tx1" presStyleLbl="revTx" presStyleIdx="0" presStyleCnt="4"/>
      <dgm:spPr/>
    </dgm:pt>
    <dgm:pt modelId="{E696807F-F32E-4A8B-A706-549421990E3E}" type="pres">
      <dgm:prSet presAssocID="{47951727-8561-41D7-A3C0-CB89F6A66465}" presName="vert1" presStyleCnt="0"/>
      <dgm:spPr/>
    </dgm:pt>
    <dgm:pt modelId="{45ADB1E2-D1EA-44CF-9BED-563458E43699}" type="pres">
      <dgm:prSet presAssocID="{194D3193-0950-469D-9E07-01FA62508C69}" presName="thickLine" presStyleLbl="alignNode1" presStyleIdx="1" presStyleCnt="4"/>
      <dgm:spPr/>
    </dgm:pt>
    <dgm:pt modelId="{10318B95-4B55-4C66-B6D8-F16BBFBE15F0}" type="pres">
      <dgm:prSet presAssocID="{194D3193-0950-469D-9E07-01FA62508C69}" presName="horz1" presStyleCnt="0"/>
      <dgm:spPr/>
    </dgm:pt>
    <dgm:pt modelId="{451FC847-6485-41D4-975B-3507CA98ED10}" type="pres">
      <dgm:prSet presAssocID="{194D3193-0950-469D-9E07-01FA62508C69}" presName="tx1" presStyleLbl="revTx" presStyleIdx="1" presStyleCnt="4"/>
      <dgm:spPr/>
    </dgm:pt>
    <dgm:pt modelId="{E1B1CD84-35FB-4530-A9D5-F2F9853A1930}" type="pres">
      <dgm:prSet presAssocID="{194D3193-0950-469D-9E07-01FA62508C69}" presName="vert1" presStyleCnt="0"/>
      <dgm:spPr/>
    </dgm:pt>
    <dgm:pt modelId="{07446256-9107-47AF-9C09-60E17F4CDFFE}" type="pres">
      <dgm:prSet presAssocID="{2678C3F4-ABF2-4B8D-95B3-5FE23BDF3897}" presName="thickLine" presStyleLbl="alignNode1" presStyleIdx="2" presStyleCnt="4"/>
      <dgm:spPr/>
    </dgm:pt>
    <dgm:pt modelId="{9816D351-3E62-4F93-8CC5-37E5FA2AADB1}" type="pres">
      <dgm:prSet presAssocID="{2678C3F4-ABF2-4B8D-95B3-5FE23BDF3897}" presName="horz1" presStyleCnt="0"/>
      <dgm:spPr/>
    </dgm:pt>
    <dgm:pt modelId="{3F677319-5ECF-4609-8808-83226154C14B}" type="pres">
      <dgm:prSet presAssocID="{2678C3F4-ABF2-4B8D-95B3-5FE23BDF3897}" presName="tx1" presStyleLbl="revTx" presStyleIdx="2" presStyleCnt="4"/>
      <dgm:spPr/>
    </dgm:pt>
    <dgm:pt modelId="{3AFCAA7F-AEDC-4886-9BE1-016131FC17E7}" type="pres">
      <dgm:prSet presAssocID="{2678C3F4-ABF2-4B8D-95B3-5FE23BDF3897}" presName="vert1" presStyleCnt="0"/>
      <dgm:spPr/>
    </dgm:pt>
    <dgm:pt modelId="{026D8DF4-2694-458C-9967-921F6BEF5E5F}" type="pres">
      <dgm:prSet presAssocID="{D6813AC2-7B2C-4D88-B316-FA531680C08C}" presName="thickLine" presStyleLbl="alignNode1" presStyleIdx="3" presStyleCnt="4"/>
      <dgm:spPr/>
    </dgm:pt>
    <dgm:pt modelId="{B148745F-72BB-4461-8F31-7F45C36DB4B5}" type="pres">
      <dgm:prSet presAssocID="{D6813AC2-7B2C-4D88-B316-FA531680C08C}" presName="horz1" presStyleCnt="0"/>
      <dgm:spPr/>
    </dgm:pt>
    <dgm:pt modelId="{7F72ACF4-36E8-4A16-8060-8C8472A9ECE3}" type="pres">
      <dgm:prSet presAssocID="{D6813AC2-7B2C-4D88-B316-FA531680C08C}" presName="tx1" presStyleLbl="revTx" presStyleIdx="3" presStyleCnt="4"/>
      <dgm:spPr/>
    </dgm:pt>
    <dgm:pt modelId="{2E2C6E96-8BA9-436C-88C7-AE04E4137E86}" type="pres">
      <dgm:prSet presAssocID="{D6813AC2-7B2C-4D88-B316-FA531680C08C}" presName="vert1" presStyleCnt="0"/>
      <dgm:spPr/>
    </dgm:pt>
  </dgm:ptLst>
  <dgm:cxnLst>
    <dgm:cxn modelId="{53E0CE01-AC80-4DC1-87F9-B626AA8C1B80}" type="presOf" srcId="{194D3193-0950-469D-9E07-01FA62508C69}" destId="{451FC847-6485-41D4-975B-3507CA98ED10}" srcOrd="0" destOrd="0" presId="urn:microsoft.com/office/officeart/2008/layout/LinedList"/>
    <dgm:cxn modelId="{03D9920E-2D95-4B61-8E32-A0322606A01A}" type="presOf" srcId="{D6813AC2-7B2C-4D88-B316-FA531680C08C}" destId="{7F72ACF4-36E8-4A16-8060-8C8472A9ECE3}" srcOrd="0" destOrd="0" presId="urn:microsoft.com/office/officeart/2008/layout/LinedList"/>
    <dgm:cxn modelId="{D6C41815-FEE2-4962-B49C-912C0170E077}" type="presOf" srcId="{47951727-8561-41D7-A3C0-CB89F6A66465}" destId="{3A3F634F-F0CA-496A-BDA1-CFF3BF0375D1}" srcOrd="0" destOrd="0" presId="urn:microsoft.com/office/officeart/2008/layout/LinedList"/>
    <dgm:cxn modelId="{E0034517-4E40-4506-808D-80DD7A01B5F9}" srcId="{BAE05AFF-2F1B-4502-813A-248799BF6F47}" destId="{2678C3F4-ABF2-4B8D-95B3-5FE23BDF3897}" srcOrd="2" destOrd="0" parTransId="{34FF2C7C-4A46-4387-93DB-DEEFA8C13EB3}" sibTransId="{98FA5CD7-8B11-4CCB-980B-9E1F164259B1}"/>
    <dgm:cxn modelId="{8F903C60-1C54-4C07-ADFE-4866E2DFE52D}" srcId="{BAE05AFF-2F1B-4502-813A-248799BF6F47}" destId="{194D3193-0950-469D-9E07-01FA62508C69}" srcOrd="1" destOrd="0" parTransId="{F635384D-2337-43E8-B8EF-39A7DAF6F02A}" sibTransId="{141120FA-D31B-4649-9CD7-81B5F7E109C5}"/>
    <dgm:cxn modelId="{5478B882-467C-4FCE-811F-166B7BFBBB15}" srcId="{BAE05AFF-2F1B-4502-813A-248799BF6F47}" destId="{D6813AC2-7B2C-4D88-B316-FA531680C08C}" srcOrd="3" destOrd="0" parTransId="{09870A42-A67B-4054-9AD9-86E8AE3F4E2F}" sibTransId="{70B2E789-080E-4BE4-86B0-169B8FF4FF00}"/>
    <dgm:cxn modelId="{990526BC-AE7E-46CD-9A64-2064A77AA2AF}" type="presOf" srcId="{BAE05AFF-2F1B-4502-813A-248799BF6F47}" destId="{0446BBE3-7351-4395-953D-617C4575551F}" srcOrd="0" destOrd="0" presId="urn:microsoft.com/office/officeart/2008/layout/LinedList"/>
    <dgm:cxn modelId="{419B27BC-FD5F-4324-B87F-B545ED975EBC}" type="presOf" srcId="{2678C3F4-ABF2-4B8D-95B3-5FE23BDF3897}" destId="{3F677319-5ECF-4609-8808-83226154C14B}" srcOrd="0" destOrd="0" presId="urn:microsoft.com/office/officeart/2008/layout/LinedList"/>
    <dgm:cxn modelId="{F1177AE0-AC93-450C-B128-A06D841D4EA6}" srcId="{BAE05AFF-2F1B-4502-813A-248799BF6F47}" destId="{47951727-8561-41D7-A3C0-CB89F6A66465}" srcOrd="0" destOrd="0" parTransId="{E6D24430-1437-4839-829E-15589A4C81E1}" sibTransId="{E62880D9-969D-48E9-A42F-E89EC7E6EC0E}"/>
    <dgm:cxn modelId="{4CE77ECF-C40B-4915-A6D4-00B3E5852400}" type="presParOf" srcId="{0446BBE3-7351-4395-953D-617C4575551F}" destId="{DF8C8741-2E10-4087-A10B-6F8DF05D68F8}" srcOrd="0" destOrd="0" presId="urn:microsoft.com/office/officeart/2008/layout/LinedList"/>
    <dgm:cxn modelId="{5F00416C-CA09-4F45-8406-D53552A2F3AE}" type="presParOf" srcId="{0446BBE3-7351-4395-953D-617C4575551F}" destId="{C4AB5A88-ECC2-458E-A7D1-EBDBD2FBE0F0}" srcOrd="1" destOrd="0" presId="urn:microsoft.com/office/officeart/2008/layout/LinedList"/>
    <dgm:cxn modelId="{F0DAC6C6-6041-4F48-8281-3CF995611A6E}" type="presParOf" srcId="{C4AB5A88-ECC2-458E-A7D1-EBDBD2FBE0F0}" destId="{3A3F634F-F0CA-496A-BDA1-CFF3BF0375D1}" srcOrd="0" destOrd="0" presId="urn:microsoft.com/office/officeart/2008/layout/LinedList"/>
    <dgm:cxn modelId="{34332BF0-234D-4A72-ACA7-B2ED1C60D92A}" type="presParOf" srcId="{C4AB5A88-ECC2-458E-A7D1-EBDBD2FBE0F0}" destId="{E696807F-F32E-4A8B-A706-549421990E3E}" srcOrd="1" destOrd="0" presId="urn:microsoft.com/office/officeart/2008/layout/LinedList"/>
    <dgm:cxn modelId="{07F97BDE-12C9-40B4-AC67-BF4E31C1CD4C}" type="presParOf" srcId="{0446BBE3-7351-4395-953D-617C4575551F}" destId="{45ADB1E2-D1EA-44CF-9BED-563458E43699}" srcOrd="2" destOrd="0" presId="urn:microsoft.com/office/officeart/2008/layout/LinedList"/>
    <dgm:cxn modelId="{446F34E3-F106-4813-BF4C-DB7D54E298DC}" type="presParOf" srcId="{0446BBE3-7351-4395-953D-617C4575551F}" destId="{10318B95-4B55-4C66-B6D8-F16BBFBE15F0}" srcOrd="3" destOrd="0" presId="urn:microsoft.com/office/officeart/2008/layout/LinedList"/>
    <dgm:cxn modelId="{A38E731A-C260-4F92-A463-921738B10657}" type="presParOf" srcId="{10318B95-4B55-4C66-B6D8-F16BBFBE15F0}" destId="{451FC847-6485-41D4-975B-3507CA98ED10}" srcOrd="0" destOrd="0" presId="urn:microsoft.com/office/officeart/2008/layout/LinedList"/>
    <dgm:cxn modelId="{E050A8BC-A7E0-4E2B-8E35-EFFB9D870DD3}" type="presParOf" srcId="{10318B95-4B55-4C66-B6D8-F16BBFBE15F0}" destId="{E1B1CD84-35FB-4530-A9D5-F2F9853A1930}" srcOrd="1" destOrd="0" presId="urn:microsoft.com/office/officeart/2008/layout/LinedList"/>
    <dgm:cxn modelId="{A36C0A20-DF58-4F6F-B207-FD4EEE6F6224}" type="presParOf" srcId="{0446BBE3-7351-4395-953D-617C4575551F}" destId="{07446256-9107-47AF-9C09-60E17F4CDFFE}" srcOrd="4" destOrd="0" presId="urn:microsoft.com/office/officeart/2008/layout/LinedList"/>
    <dgm:cxn modelId="{10F821B3-E69F-4AF3-A5E3-58CA3699C088}" type="presParOf" srcId="{0446BBE3-7351-4395-953D-617C4575551F}" destId="{9816D351-3E62-4F93-8CC5-37E5FA2AADB1}" srcOrd="5" destOrd="0" presId="urn:microsoft.com/office/officeart/2008/layout/LinedList"/>
    <dgm:cxn modelId="{422CEE3C-D79A-49B5-89EA-F008B8956CF4}" type="presParOf" srcId="{9816D351-3E62-4F93-8CC5-37E5FA2AADB1}" destId="{3F677319-5ECF-4609-8808-83226154C14B}" srcOrd="0" destOrd="0" presId="urn:microsoft.com/office/officeart/2008/layout/LinedList"/>
    <dgm:cxn modelId="{BE93FFAF-BCDC-4B25-87B2-B99CCEC09076}" type="presParOf" srcId="{9816D351-3E62-4F93-8CC5-37E5FA2AADB1}" destId="{3AFCAA7F-AEDC-4886-9BE1-016131FC17E7}" srcOrd="1" destOrd="0" presId="urn:microsoft.com/office/officeart/2008/layout/LinedList"/>
    <dgm:cxn modelId="{26E84072-4E4F-48C4-A079-135C6315899B}" type="presParOf" srcId="{0446BBE3-7351-4395-953D-617C4575551F}" destId="{026D8DF4-2694-458C-9967-921F6BEF5E5F}" srcOrd="6" destOrd="0" presId="urn:microsoft.com/office/officeart/2008/layout/LinedList"/>
    <dgm:cxn modelId="{29422869-E263-4B07-AEC9-5EEAA490D8C1}" type="presParOf" srcId="{0446BBE3-7351-4395-953D-617C4575551F}" destId="{B148745F-72BB-4461-8F31-7F45C36DB4B5}" srcOrd="7" destOrd="0" presId="urn:microsoft.com/office/officeart/2008/layout/LinedList"/>
    <dgm:cxn modelId="{0972F54C-66E7-4983-B07B-3112D0AC8F6D}" type="presParOf" srcId="{B148745F-72BB-4461-8F31-7F45C36DB4B5}" destId="{7F72ACF4-36E8-4A16-8060-8C8472A9ECE3}" srcOrd="0" destOrd="0" presId="urn:microsoft.com/office/officeart/2008/layout/LinedList"/>
    <dgm:cxn modelId="{9656787B-FDB7-4C48-B995-DDBEC5E903A8}" type="presParOf" srcId="{B148745F-72BB-4461-8F31-7F45C36DB4B5}" destId="{2E2C6E96-8BA9-436C-88C7-AE04E4137E8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AE05AFF-2F1B-4502-813A-248799BF6F4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pt-PT"/>
        </a:p>
      </dgm:t>
    </dgm:pt>
    <dgm:pt modelId="{47951727-8561-41D7-A3C0-CB89F6A66465}">
      <dgm:prSet phldrT="[Text]" custT="1"/>
      <dgm:spPr/>
      <dgm:t>
        <a:bodyPr/>
        <a:lstStyle/>
        <a:p>
          <a:r>
            <a:rPr lang="pt-PT" sz="2000">
              <a:solidFill>
                <a:schemeClr val="bg1">
                  <a:lumMod val="75000"/>
                </a:schemeClr>
              </a:solidFill>
              <a:latin typeface="Tenorite" panose="00000500000000000000" pitchFamily="2" charset="0"/>
            </a:rPr>
            <a:t>Team Profile</a:t>
          </a:r>
        </a:p>
      </dgm:t>
    </dgm:pt>
    <dgm:pt modelId="{E6D24430-1437-4839-829E-15589A4C81E1}" type="parTrans" cxnId="{F1177AE0-AC93-450C-B128-A06D841D4EA6}">
      <dgm:prSet/>
      <dgm:spPr/>
      <dgm:t>
        <a:bodyPr/>
        <a:lstStyle/>
        <a:p>
          <a:endParaRPr lang="pt-PT" sz="2000">
            <a:latin typeface="Tenorite" panose="00000500000000000000" pitchFamily="2" charset="0"/>
          </a:endParaRPr>
        </a:p>
      </dgm:t>
    </dgm:pt>
    <dgm:pt modelId="{E62880D9-969D-48E9-A42F-E89EC7E6EC0E}" type="sibTrans" cxnId="{F1177AE0-AC93-450C-B128-A06D841D4EA6}">
      <dgm:prSet/>
      <dgm:spPr/>
      <dgm:t>
        <a:bodyPr/>
        <a:lstStyle/>
        <a:p>
          <a:endParaRPr lang="pt-PT" sz="2000">
            <a:latin typeface="Tenorite" panose="00000500000000000000" pitchFamily="2" charset="0"/>
          </a:endParaRPr>
        </a:p>
      </dgm:t>
    </dgm:pt>
    <dgm:pt modelId="{194D3193-0950-469D-9E07-01FA62508C69}">
      <dgm:prSet phldrT="[Text]" custT="1"/>
      <dgm:spPr/>
      <dgm:t>
        <a:bodyPr/>
        <a:lstStyle/>
        <a:p>
          <a:r>
            <a:rPr lang="pt-PT" sz="2000">
              <a:latin typeface="Tenorite" panose="00000500000000000000" pitchFamily="2" charset="0"/>
            </a:rPr>
            <a:t>Main Factors Causing Attrition</a:t>
          </a:r>
        </a:p>
      </dgm:t>
    </dgm:pt>
    <dgm:pt modelId="{F635384D-2337-43E8-B8EF-39A7DAF6F02A}" type="parTrans" cxnId="{8F903C60-1C54-4C07-ADFE-4866E2DFE52D}">
      <dgm:prSet/>
      <dgm:spPr/>
      <dgm:t>
        <a:bodyPr/>
        <a:lstStyle/>
        <a:p>
          <a:endParaRPr lang="pt-PT" sz="2000">
            <a:latin typeface="Tenorite" panose="00000500000000000000" pitchFamily="2" charset="0"/>
          </a:endParaRPr>
        </a:p>
      </dgm:t>
    </dgm:pt>
    <dgm:pt modelId="{141120FA-D31B-4649-9CD7-81B5F7E109C5}" type="sibTrans" cxnId="{8F903C60-1C54-4C07-ADFE-4866E2DFE52D}">
      <dgm:prSet/>
      <dgm:spPr/>
      <dgm:t>
        <a:bodyPr/>
        <a:lstStyle/>
        <a:p>
          <a:endParaRPr lang="pt-PT" sz="2000">
            <a:latin typeface="Tenorite" panose="00000500000000000000" pitchFamily="2" charset="0"/>
          </a:endParaRPr>
        </a:p>
      </dgm:t>
    </dgm:pt>
    <dgm:pt modelId="{2678C3F4-ABF2-4B8D-95B3-5FE23BDF3897}">
      <dgm:prSet phldrT="[Text]" custT="1"/>
      <dgm:spPr/>
      <dgm:t>
        <a:bodyPr/>
        <a:lstStyle/>
        <a:p>
          <a:r>
            <a:rPr lang="pt-PT" sz="2000">
              <a:solidFill>
                <a:schemeClr val="bg1">
                  <a:lumMod val="75000"/>
                </a:schemeClr>
              </a:solidFill>
              <a:latin typeface="Tenorite" panose="00000500000000000000" pitchFamily="2" charset="0"/>
            </a:rPr>
            <a:t>Employee Attrition Rate</a:t>
          </a:r>
        </a:p>
      </dgm:t>
    </dgm:pt>
    <dgm:pt modelId="{34FF2C7C-4A46-4387-93DB-DEEFA8C13EB3}" type="parTrans" cxnId="{E0034517-4E40-4506-808D-80DD7A01B5F9}">
      <dgm:prSet/>
      <dgm:spPr/>
      <dgm:t>
        <a:bodyPr/>
        <a:lstStyle/>
        <a:p>
          <a:endParaRPr lang="pt-PT" sz="2000">
            <a:latin typeface="Tenorite" panose="00000500000000000000" pitchFamily="2" charset="0"/>
          </a:endParaRPr>
        </a:p>
      </dgm:t>
    </dgm:pt>
    <dgm:pt modelId="{98FA5CD7-8B11-4CCB-980B-9E1F164259B1}" type="sibTrans" cxnId="{E0034517-4E40-4506-808D-80DD7A01B5F9}">
      <dgm:prSet/>
      <dgm:spPr/>
      <dgm:t>
        <a:bodyPr/>
        <a:lstStyle/>
        <a:p>
          <a:endParaRPr lang="pt-PT" sz="2000">
            <a:latin typeface="Tenorite" panose="00000500000000000000" pitchFamily="2" charset="0"/>
          </a:endParaRPr>
        </a:p>
      </dgm:t>
    </dgm:pt>
    <dgm:pt modelId="{D6813AC2-7B2C-4D88-B316-FA531680C08C}">
      <dgm:prSet custT="1"/>
      <dgm:spPr/>
      <dgm:t>
        <a:bodyPr/>
        <a:lstStyle/>
        <a:p>
          <a:r>
            <a:rPr lang="pt-PT" sz="2000">
              <a:solidFill>
                <a:schemeClr val="bg1">
                  <a:lumMod val="75000"/>
                </a:schemeClr>
              </a:solidFill>
              <a:latin typeface="Tenorite" panose="00000500000000000000" pitchFamily="2" charset="0"/>
            </a:rPr>
            <a:t>Retention Strategies</a:t>
          </a:r>
        </a:p>
      </dgm:t>
    </dgm:pt>
    <dgm:pt modelId="{09870A42-A67B-4054-9AD9-86E8AE3F4E2F}" type="parTrans" cxnId="{5478B882-467C-4FCE-811F-166B7BFBBB15}">
      <dgm:prSet/>
      <dgm:spPr/>
      <dgm:t>
        <a:bodyPr/>
        <a:lstStyle/>
        <a:p>
          <a:endParaRPr lang="pt-PT" sz="2000">
            <a:latin typeface="Tenorite" panose="00000500000000000000" pitchFamily="2" charset="0"/>
          </a:endParaRPr>
        </a:p>
      </dgm:t>
    </dgm:pt>
    <dgm:pt modelId="{70B2E789-080E-4BE4-86B0-169B8FF4FF00}" type="sibTrans" cxnId="{5478B882-467C-4FCE-811F-166B7BFBBB15}">
      <dgm:prSet/>
      <dgm:spPr/>
      <dgm:t>
        <a:bodyPr/>
        <a:lstStyle/>
        <a:p>
          <a:endParaRPr lang="pt-PT" sz="2000">
            <a:latin typeface="Tenorite" panose="00000500000000000000" pitchFamily="2" charset="0"/>
          </a:endParaRPr>
        </a:p>
      </dgm:t>
    </dgm:pt>
    <dgm:pt modelId="{0446BBE3-7351-4395-953D-617C4575551F}" type="pres">
      <dgm:prSet presAssocID="{BAE05AFF-2F1B-4502-813A-248799BF6F47}" presName="vert0" presStyleCnt="0">
        <dgm:presLayoutVars>
          <dgm:dir/>
          <dgm:animOne val="branch"/>
          <dgm:animLvl val="lvl"/>
        </dgm:presLayoutVars>
      </dgm:prSet>
      <dgm:spPr/>
    </dgm:pt>
    <dgm:pt modelId="{DF8C8741-2E10-4087-A10B-6F8DF05D68F8}" type="pres">
      <dgm:prSet presAssocID="{47951727-8561-41D7-A3C0-CB89F6A66465}" presName="thickLine" presStyleLbl="alignNode1" presStyleIdx="0" presStyleCnt="4" custLinFactNeighborX="-869" custLinFactNeighborY="-53035"/>
      <dgm:spPr/>
    </dgm:pt>
    <dgm:pt modelId="{C4AB5A88-ECC2-458E-A7D1-EBDBD2FBE0F0}" type="pres">
      <dgm:prSet presAssocID="{47951727-8561-41D7-A3C0-CB89F6A66465}" presName="horz1" presStyleCnt="0"/>
      <dgm:spPr/>
    </dgm:pt>
    <dgm:pt modelId="{3A3F634F-F0CA-496A-BDA1-CFF3BF0375D1}" type="pres">
      <dgm:prSet presAssocID="{47951727-8561-41D7-A3C0-CB89F6A66465}" presName="tx1" presStyleLbl="revTx" presStyleIdx="0" presStyleCnt="4"/>
      <dgm:spPr/>
    </dgm:pt>
    <dgm:pt modelId="{E696807F-F32E-4A8B-A706-549421990E3E}" type="pres">
      <dgm:prSet presAssocID="{47951727-8561-41D7-A3C0-CB89F6A66465}" presName="vert1" presStyleCnt="0"/>
      <dgm:spPr/>
    </dgm:pt>
    <dgm:pt modelId="{45ADB1E2-D1EA-44CF-9BED-563458E43699}" type="pres">
      <dgm:prSet presAssocID="{194D3193-0950-469D-9E07-01FA62508C69}" presName="thickLine" presStyleLbl="alignNode1" presStyleIdx="1" presStyleCnt="4"/>
      <dgm:spPr/>
    </dgm:pt>
    <dgm:pt modelId="{10318B95-4B55-4C66-B6D8-F16BBFBE15F0}" type="pres">
      <dgm:prSet presAssocID="{194D3193-0950-469D-9E07-01FA62508C69}" presName="horz1" presStyleCnt="0"/>
      <dgm:spPr/>
    </dgm:pt>
    <dgm:pt modelId="{451FC847-6485-41D4-975B-3507CA98ED10}" type="pres">
      <dgm:prSet presAssocID="{194D3193-0950-469D-9E07-01FA62508C69}" presName="tx1" presStyleLbl="revTx" presStyleIdx="1" presStyleCnt="4"/>
      <dgm:spPr/>
    </dgm:pt>
    <dgm:pt modelId="{E1B1CD84-35FB-4530-A9D5-F2F9853A1930}" type="pres">
      <dgm:prSet presAssocID="{194D3193-0950-469D-9E07-01FA62508C69}" presName="vert1" presStyleCnt="0"/>
      <dgm:spPr/>
    </dgm:pt>
    <dgm:pt modelId="{07446256-9107-47AF-9C09-60E17F4CDFFE}" type="pres">
      <dgm:prSet presAssocID="{2678C3F4-ABF2-4B8D-95B3-5FE23BDF3897}" presName="thickLine" presStyleLbl="alignNode1" presStyleIdx="2" presStyleCnt="4"/>
      <dgm:spPr/>
    </dgm:pt>
    <dgm:pt modelId="{9816D351-3E62-4F93-8CC5-37E5FA2AADB1}" type="pres">
      <dgm:prSet presAssocID="{2678C3F4-ABF2-4B8D-95B3-5FE23BDF3897}" presName="horz1" presStyleCnt="0"/>
      <dgm:spPr/>
    </dgm:pt>
    <dgm:pt modelId="{3F677319-5ECF-4609-8808-83226154C14B}" type="pres">
      <dgm:prSet presAssocID="{2678C3F4-ABF2-4B8D-95B3-5FE23BDF3897}" presName="tx1" presStyleLbl="revTx" presStyleIdx="2" presStyleCnt="4"/>
      <dgm:spPr/>
    </dgm:pt>
    <dgm:pt modelId="{3AFCAA7F-AEDC-4886-9BE1-016131FC17E7}" type="pres">
      <dgm:prSet presAssocID="{2678C3F4-ABF2-4B8D-95B3-5FE23BDF3897}" presName="vert1" presStyleCnt="0"/>
      <dgm:spPr/>
    </dgm:pt>
    <dgm:pt modelId="{026D8DF4-2694-458C-9967-921F6BEF5E5F}" type="pres">
      <dgm:prSet presAssocID="{D6813AC2-7B2C-4D88-B316-FA531680C08C}" presName="thickLine" presStyleLbl="alignNode1" presStyleIdx="3" presStyleCnt="4"/>
      <dgm:spPr/>
    </dgm:pt>
    <dgm:pt modelId="{B148745F-72BB-4461-8F31-7F45C36DB4B5}" type="pres">
      <dgm:prSet presAssocID="{D6813AC2-7B2C-4D88-B316-FA531680C08C}" presName="horz1" presStyleCnt="0"/>
      <dgm:spPr/>
    </dgm:pt>
    <dgm:pt modelId="{7F72ACF4-36E8-4A16-8060-8C8472A9ECE3}" type="pres">
      <dgm:prSet presAssocID="{D6813AC2-7B2C-4D88-B316-FA531680C08C}" presName="tx1" presStyleLbl="revTx" presStyleIdx="3" presStyleCnt="4"/>
      <dgm:spPr/>
    </dgm:pt>
    <dgm:pt modelId="{2E2C6E96-8BA9-436C-88C7-AE04E4137E86}" type="pres">
      <dgm:prSet presAssocID="{D6813AC2-7B2C-4D88-B316-FA531680C08C}" presName="vert1" presStyleCnt="0"/>
      <dgm:spPr/>
    </dgm:pt>
  </dgm:ptLst>
  <dgm:cxnLst>
    <dgm:cxn modelId="{53E0CE01-AC80-4DC1-87F9-B626AA8C1B80}" type="presOf" srcId="{194D3193-0950-469D-9E07-01FA62508C69}" destId="{451FC847-6485-41D4-975B-3507CA98ED10}" srcOrd="0" destOrd="0" presId="urn:microsoft.com/office/officeart/2008/layout/LinedList"/>
    <dgm:cxn modelId="{03D9920E-2D95-4B61-8E32-A0322606A01A}" type="presOf" srcId="{D6813AC2-7B2C-4D88-B316-FA531680C08C}" destId="{7F72ACF4-36E8-4A16-8060-8C8472A9ECE3}" srcOrd="0" destOrd="0" presId="urn:microsoft.com/office/officeart/2008/layout/LinedList"/>
    <dgm:cxn modelId="{D6C41815-FEE2-4962-B49C-912C0170E077}" type="presOf" srcId="{47951727-8561-41D7-A3C0-CB89F6A66465}" destId="{3A3F634F-F0CA-496A-BDA1-CFF3BF0375D1}" srcOrd="0" destOrd="0" presId="urn:microsoft.com/office/officeart/2008/layout/LinedList"/>
    <dgm:cxn modelId="{E0034517-4E40-4506-808D-80DD7A01B5F9}" srcId="{BAE05AFF-2F1B-4502-813A-248799BF6F47}" destId="{2678C3F4-ABF2-4B8D-95B3-5FE23BDF3897}" srcOrd="2" destOrd="0" parTransId="{34FF2C7C-4A46-4387-93DB-DEEFA8C13EB3}" sibTransId="{98FA5CD7-8B11-4CCB-980B-9E1F164259B1}"/>
    <dgm:cxn modelId="{8F903C60-1C54-4C07-ADFE-4866E2DFE52D}" srcId="{BAE05AFF-2F1B-4502-813A-248799BF6F47}" destId="{194D3193-0950-469D-9E07-01FA62508C69}" srcOrd="1" destOrd="0" parTransId="{F635384D-2337-43E8-B8EF-39A7DAF6F02A}" sibTransId="{141120FA-D31B-4649-9CD7-81B5F7E109C5}"/>
    <dgm:cxn modelId="{5478B882-467C-4FCE-811F-166B7BFBBB15}" srcId="{BAE05AFF-2F1B-4502-813A-248799BF6F47}" destId="{D6813AC2-7B2C-4D88-B316-FA531680C08C}" srcOrd="3" destOrd="0" parTransId="{09870A42-A67B-4054-9AD9-86E8AE3F4E2F}" sibTransId="{70B2E789-080E-4BE4-86B0-169B8FF4FF00}"/>
    <dgm:cxn modelId="{990526BC-AE7E-46CD-9A64-2064A77AA2AF}" type="presOf" srcId="{BAE05AFF-2F1B-4502-813A-248799BF6F47}" destId="{0446BBE3-7351-4395-953D-617C4575551F}" srcOrd="0" destOrd="0" presId="urn:microsoft.com/office/officeart/2008/layout/LinedList"/>
    <dgm:cxn modelId="{419B27BC-FD5F-4324-B87F-B545ED975EBC}" type="presOf" srcId="{2678C3F4-ABF2-4B8D-95B3-5FE23BDF3897}" destId="{3F677319-5ECF-4609-8808-83226154C14B}" srcOrd="0" destOrd="0" presId="urn:microsoft.com/office/officeart/2008/layout/LinedList"/>
    <dgm:cxn modelId="{F1177AE0-AC93-450C-B128-A06D841D4EA6}" srcId="{BAE05AFF-2F1B-4502-813A-248799BF6F47}" destId="{47951727-8561-41D7-A3C0-CB89F6A66465}" srcOrd="0" destOrd="0" parTransId="{E6D24430-1437-4839-829E-15589A4C81E1}" sibTransId="{E62880D9-969D-48E9-A42F-E89EC7E6EC0E}"/>
    <dgm:cxn modelId="{4CE77ECF-C40B-4915-A6D4-00B3E5852400}" type="presParOf" srcId="{0446BBE3-7351-4395-953D-617C4575551F}" destId="{DF8C8741-2E10-4087-A10B-6F8DF05D68F8}" srcOrd="0" destOrd="0" presId="urn:microsoft.com/office/officeart/2008/layout/LinedList"/>
    <dgm:cxn modelId="{5F00416C-CA09-4F45-8406-D53552A2F3AE}" type="presParOf" srcId="{0446BBE3-7351-4395-953D-617C4575551F}" destId="{C4AB5A88-ECC2-458E-A7D1-EBDBD2FBE0F0}" srcOrd="1" destOrd="0" presId="urn:microsoft.com/office/officeart/2008/layout/LinedList"/>
    <dgm:cxn modelId="{F0DAC6C6-6041-4F48-8281-3CF995611A6E}" type="presParOf" srcId="{C4AB5A88-ECC2-458E-A7D1-EBDBD2FBE0F0}" destId="{3A3F634F-F0CA-496A-BDA1-CFF3BF0375D1}" srcOrd="0" destOrd="0" presId="urn:microsoft.com/office/officeart/2008/layout/LinedList"/>
    <dgm:cxn modelId="{34332BF0-234D-4A72-ACA7-B2ED1C60D92A}" type="presParOf" srcId="{C4AB5A88-ECC2-458E-A7D1-EBDBD2FBE0F0}" destId="{E696807F-F32E-4A8B-A706-549421990E3E}" srcOrd="1" destOrd="0" presId="urn:microsoft.com/office/officeart/2008/layout/LinedList"/>
    <dgm:cxn modelId="{07F97BDE-12C9-40B4-AC67-BF4E31C1CD4C}" type="presParOf" srcId="{0446BBE3-7351-4395-953D-617C4575551F}" destId="{45ADB1E2-D1EA-44CF-9BED-563458E43699}" srcOrd="2" destOrd="0" presId="urn:microsoft.com/office/officeart/2008/layout/LinedList"/>
    <dgm:cxn modelId="{446F34E3-F106-4813-BF4C-DB7D54E298DC}" type="presParOf" srcId="{0446BBE3-7351-4395-953D-617C4575551F}" destId="{10318B95-4B55-4C66-B6D8-F16BBFBE15F0}" srcOrd="3" destOrd="0" presId="urn:microsoft.com/office/officeart/2008/layout/LinedList"/>
    <dgm:cxn modelId="{A38E731A-C260-4F92-A463-921738B10657}" type="presParOf" srcId="{10318B95-4B55-4C66-B6D8-F16BBFBE15F0}" destId="{451FC847-6485-41D4-975B-3507CA98ED10}" srcOrd="0" destOrd="0" presId="urn:microsoft.com/office/officeart/2008/layout/LinedList"/>
    <dgm:cxn modelId="{E050A8BC-A7E0-4E2B-8E35-EFFB9D870DD3}" type="presParOf" srcId="{10318B95-4B55-4C66-B6D8-F16BBFBE15F0}" destId="{E1B1CD84-35FB-4530-A9D5-F2F9853A1930}" srcOrd="1" destOrd="0" presId="urn:microsoft.com/office/officeart/2008/layout/LinedList"/>
    <dgm:cxn modelId="{A36C0A20-DF58-4F6F-B207-FD4EEE6F6224}" type="presParOf" srcId="{0446BBE3-7351-4395-953D-617C4575551F}" destId="{07446256-9107-47AF-9C09-60E17F4CDFFE}" srcOrd="4" destOrd="0" presId="urn:microsoft.com/office/officeart/2008/layout/LinedList"/>
    <dgm:cxn modelId="{10F821B3-E69F-4AF3-A5E3-58CA3699C088}" type="presParOf" srcId="{0446BBE3-7351-4395-953D-617C4575551F}" destId="{9816D351-3E62-4F93-8CC5-37E5FA2AADB1}" srcOrd="5" destOrd="0" presId="urn:microsoft.com/office/officeart/2008/layout/LinedList"/>
    <dgm:cxn modelId="{422CEE3C-D79A-49B5-89EA-F008B8956CF4}" type="presParOf" srcId="{9816D351-3E62-4F93-8CC5-37E5FA2AADB1}" destId="{3F677319-5ECF-4609-8808-83226154C14B}" srcOrd="0" destOrd="0" presId="urn:microsoft.com/office/officeart/2008/layout/LinedList"/>
    <dgm:cxn modelId="{BE93FFAF-BCDC-4B25-87B2-B99CCEC09076}" type="presParOf" srcId="{9816D351-3E62-4F93-8CC5-37E5FA2AADB1}" destId="{3AFCAA7F-AEDC-4886-9BE1-016131FC17E7}" srcOrd="1" destOrd="0" presId="urn:microsoft.com/office/officeart/2008/layout/LinedList"/>
    <dgm:cxn modelId="{26E84072-4E4F-48C4-A079-135C6315899B}" type="presParOf" srcId="{0446BBE3-7351-4395-953D-617C4575551F}" destId="{026D8DF4-2694-458C-9967-921F6BEF5E5F}" srcOrd="6" destOrd="0" presId="urn:microsoft.com/office/officeart/2008/layout/LinedList"/>
    <dgm:cxn modelId="{29422869-E263-4B07-AEC9-5EEAA490D8C1}" type="presParOf" srcId="{0446BBE3-7351-4395-953D-617C4575551F}" destId="{B148745F-72BB-4461-8F31-7F45C36DB4B5}" srcOrd="7" destOrd="0" presId="urn:microsoft.com/office/officeart/2008/layout/LinedList"/>
    <dgm:cxn modelId="{0972F54C-66E7-4983-B07B-3112D0AC8F6D}" type="presParOf" srcId="{B148745F-72BB-4461-8F31-7F45C36DB4B5}" destId="{7F72ACF4-36E8-4A16-8060-8C8472A9ECE3}" srcOrd="0" destOrd="0" presId="urn:microsoft.com/office/officeart/2008/layout/LinedList"/>
    <dgm:cxn modelId="{9656787B-FDB7-4C48-B995-DDBEC5E903A8}" type="presParOf" srcId="{B148745F-72BB-4461-8F31-7F45C36DB4B5}" destId="{2E2C6E96-8BA9-436C-88C7-AE04E4137E8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AE05AFF-2F1B-4502-813A-248799BF6F4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pt-PT"/>
        </a:p>
      </dgm:t>
    </dgm:pt>
    <dgm:pt modelId="{47951727-8561-41D7-A3C0-CB89F6A66465}">
      <dgm:prSet phldrT="[Text]" custT="1"/>
      <dgm:spPr/>
      <dgm:t>
        <a:bodyPr/>
        <a:lstStyle/>
        <a:p>
          <a:r>
            <a:rPr lang="pt-PT" sz="2000">
              <a:solidFill>
                <a:schemeClr val="bg1">
                  <a:lumMod val="75000"/>
                </a:schemeClr>
              </a:solidFill>
              <a:latin typeface="Tenorite" panose="00000500000000000000" pitchFamily="2" charset="0"/>
            </a:rPr>
            <a:t>Team Profile</a:t>
          </a:r>
        </a:p>
      </dgm:t>
    </dgm:pt>
    <dgm:pt modelId="{E6D24430-1437-4839-829E-15589A4C81E1}" type="parTrans" cxnId="{F1177AE0-AC93-450C-B128-A06D841D4EA6}">
      <dgm:prSet/>
      <dgm:spPr/>
      <dgm:t>
        <a:bodyPr/>
        <a:lstStyle/>
        <a:p>
          <a:endParaRPr lang="pt-PT" sz="2000">
            <a:latin typeface="Tenorite" panose="00000500000000000000" pitchFamily="2" charset="0"/>
          </a:endParaRPr>
        </a:p>
      </dgm:t>
    </dgm:pt>
    <dgm:pt modelId="{E62880D9-969D-48E9-A42F-E89EC7E6EC0E}" type="sibTrans" cxnId="{F1177AE0-AC93-450C-B128-A06D841D4EA6}">
      <dgm:prSet/>
      <dgm:spPr/>
      <dgm:t>
        <a:bodyPr/>
        <a:lstStyle/>
        <a:p>
          <a:endParaRPr lang="pt-PT" sz="2000">
            <a:latin typeface="Tenorite" panose="00000500000000000000" pitchFamily="2" charset="0"/>
          </a:endParaRPr>
        </a:p>
      </dgm:t>
    </dgm:pt>
    <dgm:pt modelId="{194D3193-0950-469D-9E07-01FA62508C69}">
      <dgm:prSet phldrT="[Text]" custT="1"/>
      <dgm:spPr/>
      <dgm:t>
        <a:bodyPr/>
        <a:lstStyle/>
        <a:p>
          <a:r>
            <a:rPr lang="pt-PT" sz="2000">
              <a:solidFill>
                <a:schemeClr val="bg1">
                  <a:lumMod val="75000"/>
                </a:schemeClr>
              </a:solidFill>
              <a:latin typeface="Tenorite" panose="00000500000000000000" pitchFamily="2" charset="0"/>
            </a:rPr>
            <a:t>Main Factors Causing Attrition</a:t>
          </a:r>
        </a:p>
      </dgm:t>
    </dgm:pt>
    <dgm:pt modelId="{F635384D-2337-43E8-B8EF-39A7DAF6F02A}" type="parTrans" cxnId="{8F903C60-1C54-4C07-ADFE-4866E2DFE52D}">
      <dgm:prSet/>
      <dgm:spPr/>
      <dgm:t>
        <a:bodyPr/>
        <a:lstStyle/>
        <a:p>
          <a:endParaRPr lang="pt-PT" sz="2000">
            <a:latin typeface="Tenorite" panose="00000500000000000000" pitchFamily="2" charset="0"/>
          </a:endParaRPr>
        </a:p>
      </dgm:t>
    </dgm:pt>
    <dgm:pt modelId="{141120FA-D31B-4649-9CD7-81B5F7E109C5}" type="sibTrans" cxnId="{8F903C60-1C54-4C07-ADFE-4866E2DFE52D}">
      <dgm:prSet/>
      <dgm:spPr/>
      <dgm:t>
        <a:bodyPr/>
        <a:lstStyle/>
        <a:p>
          <a:endParaRPr lang="pt-PT" sz="2000">
            <a:latin typeface="Tenorite" panose="00000500000000000000" pitchFamily="2" charset="0"/>
          </a:endParaRPr>
        </a:p>
      </dgm:t>
    </dgm:pt>
    <dgm:pt modelId="{2678C3F4-ABF2-4B8D-95B3-5FE23BDF3897}">
      <dgm:prSet phldrT="[Text]" custT="1"/>
      <dgm:spPr/>
      <dgm:t>
        <a:bodyPr/>
        <a:lstStyle/>
        <a:p>
          <a:r>
            <a:rPr lang="pt-PT" sz="2000">
              <a:solidFill>
                <a:schemeClr val="tx1"/>
              </a:solidFill>
              <a:latin typeface="Tenorite" panose="00000500000000000000" pitchFamily="2" charset="0"/>
            </a:rPr>
            <a:t>Employee Attrition Rate</a:t>
          </a:r>
        </a:p>
      </dgm:t>
    </dgm:pt>
    <dgm:pt modelId="{34FF2C7C-4A46-4387-93DB-DEEFA8C13EB3}" type="parTrans" cxnId="{E0034517-4E40-4506-808D-80DD7A01B5F9}">
      <dgm:prSet/>
      <dgm:spPr/>
      <dgm:t>
        <a:bodyPr/>
        <a:lstStyle/>
        <a:p>
          <a:endParaRPr lang="pt-PT" sz="2000">
            <a:latin typeface="Tenorite" panose="00000500000000000000" pitchFamily="2" charset="0"/>
          </a:endParaRPr>
        </a:p>
      </dgm:t>
    </dgm:pt>
    <dgm:pt modelId="{98FA5CD7-8B11-4CCB-980B-9E1F164259B1}" type="sibTrans" cxnId="{E0034517-4E40-4506-808D-80DD7A01B5F9}">
      <dgm:prSet/>
      <dgm:spPr/>
      <dgm:t>
        <a:bodyPr/>
        <a:lstStyle/>
        <a:p>
          <a:endParaRPr lang="pt-PT" sz="2000">
            <a:latin typeface="Tenorite" panose="00000500000000000000" pitchFamily="2" charset="0"/>
          </a:endParaRPr>
        </a:p>
      </dgm:t>
    </dgm:pt>
    <dgm:pt modelId="{D6813AC2-7B2C-4D88-B316-FA531680C08C}">
      <dgm:prSet custT="1"/>
      <dgm:spPr/>
      <dgm:t>
        <a:bodyPr/>
        <a:lstStyle/>
        <a:p>
          <a:r>
            <a:rPr lang="pt-PT" sz="2000">
              <a:solidFill>
                <a:schemeClr val="bg1">
                  <a:lumMod val="75000"/>
                </a:schemeClr>
              </a:solidFill>
              <a:latin typeface="Tenorite" panose="00000500000000000000" pitchFamily="2" charset="0"/>
            </a:rPr>
            <a:t>Retention Strategies</a:t>
          </a:r>
        </a:p>
      </dgm:t>
    </dgm:pt>
    <dgm:pt modelId="{09870A42-A67B-4054-9AD9-86E8AE3F4E2F}" type="parTrans" cxnId="{5478B882-467C-4FCE-811F-166B7BFBBB15}">
      <dgm:prSet/>
      <dgm:spPr/>
      <dgm:t>
        <a:bodyPr/>
        <a:lstStyle/>
        <a:p>
          <a:endParaRPr lang="pt-PT" sz="2000">
            <a:latin typeface="Tenorite" panose="00000500000000000000" pitchFamily="2" charset="0"/>
          </a:endParaRPr>
        </a:p>
      </dgm:t>
    </dgm:pt>
    <dgm:pt modelId="{70B2E789-080E-4BE4-86B0-169B8FF4FF00}" type="sibTrans" cxnId="{5478B882-467C-4FCE-811F-166B7BFBBB15}">
      <dgm:prSet/>
      <dgm:spPr/>
      <dgm:t>
        <a:bodyPr/>
        <a:lstStyle/>
        <a:p>
          <a:endParaRPr lang="pt-PT" sz="2000">
            <a:latin typeface="Tenorite" panose="00000500000000000000" pitchFamily="2" charset="0"/>
          </a:endParaRPr>
        </a:p>
      </dgm:t>
    </dgm:pt>
    <dgm:pt modelId="{0446BBE3-7351-4395-953D-617C4575551F}" type="pres">
      <dgm:prSet presAssocID="{BAE05AFF-2F1B-4502-813A-248799BF6F47}" presName="vert0" presStyleCnt="0">
        <dgm:presLayoutVars>
          <dgm:dir/>
          <dgm:animOne val="branch"/>
          <dgm:animLvl val="lvl"/>
        </dgm:presLayoutVars>
      </dgm:prSet>
      <dgm:spPr/>
    </dgm:pt>
    <dgm:pt modelId="{DF8C8741-2E10-4087-A10B-6F8DF05D68F8}" type="pres">
      <dgm:prSet presAssocID="{47951727-8561-41D7-A3C0-CB89F6A66465}" presName="thickLine" presStyleLbl="alignNode1" presStyleIdx="0" presStyleCnt="4" custLinFactNeighborX="-869" custLinFactNeighborY="-53035"/>
      <dgm:spPr/>
    </dgm:pt>
    <dgm:pt modelId="{C4AB5A88-ECC2-458E-A7D1-EBDBD2FBE0F0}" type="pres">
      <dgm:prSet presAssocID="{47951727-8561-41D7-A3C0-CB89F6A66465}" presName="horz1" presStyleCnt="0"/>
      <dgm:spPr/>
    </dgm:pt>
    <dgm:pt modelId="{3A3F634F-F0CA-496A-BDA1-CFF3BF0375D1}" type="pres">
      <dgm:prSet presAssocID="{47951727-8561-41D7-A3C0-CB89F6A66465}" presName="tx1" presStyleLbl="revTx" presStyleIdx="0" presStyleCnt="4"/>
      <dgm:spPr/>
    </dgm:pt>
    <dgm:pt modelId="{E696807F-F32E-4A8B-A706-549421990E3E}" type="pres">
      <dgm:prSet presAssocID="{47951727-8561-41D7-A3C0-CB89F6A66465}" presName="vert1" presStyleCnt="0"/>
      <dgm:spPr/>
    </dgm:pt>
    <dgm:pt modelId="{45ADB1E2-D1EA-44CF-9BED-563458E43699}" type="pres">
      <dgm:prSet presAssocID="{194D3193-0950-469D-9E07-01FA62508C69}" presName="thickLine" presStyleLbl="alignNode1" presStyleIdx="1" presStyleCnt="4"/>
      <dgm:spPr/>
    </dgm:pt>
    <dgm:pt modelId="{10318B95-4B55-4C66-B6D8-F16BBFBE15F0}" type="pres">
      <dgm:prSet presAssocID="{194D3193-0950-469D-9E07-01FA62508C69}" presName="horz1" presStyleCnt="0"/>
      <dgm:spPr/>
    </dgm:pt>
    <dgm:pt modelId="{451FC847-6485-41D4-975B-3507CA98ED10}" type="pres">
      <dgm:prSet presAssocID="{194D3193-0950-469D-9E07-01FA62508C69}" presName="tx1" presStyleLbl="revTx" presStyleIdx="1" presStyleCnt="4"/>
      <dgm:spPr/>
    </dgm:pt>
    <dgm:pt modelId="{E1B1CD84-35FB-4530-A9D5-F2F9853A1930}" type="pres">
      <dgm:prSet presAssocID="{194D3193-0950-469D-9E07-01FA62508C69}" presName="vert1" presStyleCnt="0"/>
      <dgm:spPr/>
    </dgm:pt>
    <dgm:pt modelId="{07446256-9107-47AF-9C09-60E17F4CDFFE}" type="pres">
      <dgm:prSet presAssocID="{2678C3F4-ABF2-4B8D-95B3-5FE23BDF3897}" presName="thickLine" presStyleLbl="alignNode1" presStyleIdx="2" presStyleCnt="4"/>
      <dgm:spPr/>
    </dgm:pt>
    <dgm:pt modelId="{9816D351-3E62-4F93-8CC5-37E5FA2AADB1}" type="pres">
      <dgm:prSet presAssocID="{2678C3F4-ABF2-4B8D-95B3-5FE23BDF3897}" presName="horz1" presStyleCnt="0"/>
      <dgm:spPr/>
    </dgm:pt>
    <dgm:pt modelId="{3F677319-5ECF-4609-8808-83226154C14B}" type="pres">
      <dgm:prSet presAssocID="{2678C3F4-ABF2-4B8D-95B3-5FE23BDF3897}" presName="tx1" presStyleLbl="revTx" presStyleIdx="2" presStyleCnt="4"/>
      <dgm:spPr/>
    </dgm:pt>
    <dgm:pt modelId="{3AFCAA7F-AEDC-4886-9BE1-016131FC17E7}" type="pres">
      <dgm:prSet presAssocID="{2678C3F4-ABF2-4B8D-95B3-5FE23BDF3897}" presName="vert1" presStyleCnt="0"/>
      <dgm:spPr/>
    </dgm:pt>
    <dgm:pt modelId="{026D8DF4-2694-458C-9967-921F6BEF5E5F}" type="pres">
      <dgm:prSet presAssocID="{D6813AC2-7B2C-4D88-B316-FA531680C08C}" presName="thickLine" presStyleLbl="alignNode1" presStyleIdx="3" presStyleCnt="4"/>
      <dgm:spPr/>
    </dgm:pt>
    <dgm:pt modelId="{B148745F-72BB-4461-8F31-7F45C36DB4B5}" type="pres">
      <dgm:prSet presAssocID="{D6813AC2-7B2C-4D88-B316-FA531680C08C}" presName="horz1" presStyleCnt="0"/>
      <dgm:spPr/>
    </dgm:pt>
    <dgm:pt modelId="{7F72ACF4-36E8-4A16-8060-8C8472A9ECE3}" type="pres">
      <dgm:prSet presAssocID="{D6813AC2-7B2C-4D88-B316-FA531680C08C}" presName="tx1" presStyleLbl="revTx" presStyleIdx="3" presStyleCnt="4"/>
      <dgm:spPr/>
    </dgm:pt>
    <dgm:pt modelId="{2E2C6E96-8BA9-436C-88C7-AE04E4137E86}" type="pres">
      <dgm:prSet presAssocID="{D6813AC2-7B2C-4D88-B316-FA531680C08C}" presName="vert1" presStyleCnt="0"/>
      <dgm:spPr/>
    </dgm:pt>
  </dgm:ptLst>
  <dgm:cxnLst>
    <dgm:cxn modelId="{53E0CE01-AC80-4DC1-87F9-B626AA8C1B80}" type="presOf" srcId="{194D3193-0950-469D-9E07-01FA62508C69}" destId="{451FC847-6485-41D4-975B-3507CA98ED10}" srcOrd="0" destOrd="0" presId="urn:microsoft.com/office/officeart/2008/layout/LinedList"/>
    <dgm:cxn modelId="{03D9920E-2D95-4B61-8E32-A0322606A01A}" type="presOf" srcId="{D6813AC2-7B2C-4D88-B316-FA531680C08C}" destId="{7F72ACF4-36E8-4A16-8060-8C8472A9ECE3}" srcOrd="0" destOrd="0" presId="urn:microsoft.com/office/officeart/2008/layout/LinedList"/>
    <dgm:cxn modelId="{D6C41815-FEE2-4962-B49C-912C0170E077}" type="presOf" srcId="{47951727-8561-41D7-A3C0-CB89F6A66465}" destId="{3A3F634F-F0CA-496A-BDA1-CFF3BF0375D1}" srcOrd="0" destOrd="0" presId="urn:microsoft.com/office/officeart/2008/layout/LinedList"/>
    <dgm:cxn modelId="{E0034517-4E40-4506-808D-80DD7A01B5F9}" srcId="{BAE05AFF-2F1B-4502-813A-248799BF6F47}" destId="{2678C3F4-ABF2-4B8D-95B3-5FE23BDF3897}" srcOrd="2" destOrd="0" parTransId="{34FF2C7C-4A46-4387-93DB-DEEFA8C13EB3}" sibTransId="{98FA5CD7-8B11-4CCB-980B-9E1F164259B1}"/>
    <dgm:cxn modelId="{8F903C60-1C54-4C07-ADFE-4866E2DFE52D}" srcId="{BAE05AFF-2F1B-4502-813A-248799BF6F47}" destId="{194D3193-0950-469D-9E07-01FA62508C69}" srcOrd="1" destOrd="0" parTransId="{F635384D-2337-43E8-B8EF-39A7DAF6F02A}" sibTransId="{141120FA-D31B-4649-9CD7-81B5F7E109C5}"/>
    <dgm:cxn modelId="{5478B882-467C-4FCE-811F-166B7BFBBB15}" srcId="{BAE05AFF-2F1B-4502-813A-248799BF6F47}" destId="{D6813AC2-7B2C-4D88-B316-FA531680C08C}" srcOrd="3" destOrd="0" parTransId="{09870A42-A67B-4054-9AD9-86E8AE3F4E2F}" sibTransId="{70B2E789-080E-4BE4-86B0-169B8FF4FF00}"/>
    <dgm:cxn modelId="{990526BC-AE7E-46CD-9A64-2064A77AA2AF}" type="presOf" srcId="{BAE05AFF-2F1B-4502-813A-248799BF6F47}" destId="{0446BBE3-7351-4395-953D-617C4575551F}" srcOrd="0" destOrd="0" presId="urn:microsoft.com/office/officeart/2008/layout/LinedList"/>
    <dgm:cxn modelId="{419B27BC-FD5F-4324-B87F-B545ED975EBC}" type="presOf" srcId="{2678C3F4-ABF2-4B8D-95B3-5FE23BDF3897}" destId="{3F677319-5ECF-4609-8808-83226154C14B}" srcOrd="0" destOrd="0" presId="urn:microsoft.com/office/officeart/2008/layout/LinedList"/>
    <dgm:cxn modelId="{F1177AE0-AC93-450C-B128-A06D841D4EA6}" srcId="{BAE05AFF-2F1B-4502-813A-248799BF6F47}" destId="{47951727-8561-41D7-A3C0-CB89F6A66465}" srcOrd="0" destOrd="0" parTransId="{E6D24430-1437-4839-829E-15589A4C81E1}" sibTransId="{E62880D9-969D-48E9-A42F-E89EC7E6EC0E}"/>
    <dgm:cxn modelId="{4CE77ECF-C40B-4915-A6D4-00B3E5852400}" type="presParOf" srcId="{0446BBE3-7351-4395-953D-617C4575551F}" destId="{DF8C8741-2E10-4087-A10B-6F8DF05D68F8}" srcOrd="0" destOrd="0" presId="urn:microsoft.com/office/officeart/2008/layout/LinedList"/>
    <dgm:cxn modelId="{5F00416C-CA09-4F45-8406-D53552A2F3AE}" type="presParOf" srcId="{0446BBE3-7351-4395-953D-617C4575551F}" destId="{C4AB5A88-ECC2-458E-A7D1-EBDBD2FBE0F0}" srcOrd="1" destOrd="0" presId="urn:microsoft.com/office/officeart/2008/layout/LinedList"/>
    <dgm:cxn modelId="{F0DAC6C6-6041-4F48-8281-3CF995611A6E}" type="presParOf" srcId="{C4AB5A88-ECC2-458E-A7D1-EBDBD2FBE0F0}" destId="{3A3F634F-F0CA-496A-BDA1-CFF3BF0375D1}" srcOrd="0" destOrd="0" presId="urn:microsoft.com/office/officeart/2008/layout/LinedList"/>
    <dgm:cxn modelId="{34332BF0-234D-4A72-ACA7-B2ED1C60D92A}" type="presParOf" srcId="{C4AB5A88-ECC2-458E-A7D1-EBDBD2FBE0F0}" destId="{E696807F-F32E-4A8B-A706-549421990E3E}" srcOrd="1" destOrd="0" presId="urn:microsoft.com/office/officeart/2008/layout/LinedList"/>
    <dgm:cxn modelId="{07F97BDE-12C9-40B4-AC67-BF4E31C1CD4C}" type="presParOf" srcId="{0446BBE3-7351-4395-953D-617C4575551F}" destId="{45ADB1E2-D1EA-44CF-9BED-563458E43699}" srcOrd="2" destOrd="0" presId="urn:microsoft.com/office/officeart/2008/layout/LinedList"/>
    <dgm:cxn modelId="{446F34E3-F106-4813-BF4C-DB7D54E298DC}" type="presParOf" srcId="{0446BBE3-7351-4395-953D-617C4575551F}" destId="{10318B95-4B55-4C66-B6D8-F16BBFBE15F0}" srcOrd="3" destOrd="0" presId="urn:microsoft.com/office/officeart/2008/layout/LinedList"/>
    <dgm:cxn modelId="{A38E731A-C260-4F92-A463-921738B10657}" type="presParOf" srcId="{10318B95-4B55-4C66-B6D8-F16BBFBE15F0}" destId="{451FC847-6485-41D4-975B-3507CA98ED10}" srcOrd="0" destOrd="0" presId="urn:microsoft.com/office/officeart/2008/layout/LinedList"/>
    <dgm:cxn modelId="{E050A8BC-A7E0-4E2B-8E35-EFFB9D870DD3}" type="presParOf" srcId="{10318B95-4B55-4C66-B6D8-F16BBFBE15F0}" destId="{E1B1CD84-35FB-4530-A9D5-F2F9853A1930}" srcOrd="1" destOrd="0" presId="urn:microsoft.com/office/officeart/2008/layout/LinedList"/>
    <dgm:cxn modelId="{A36C0A20-DF58-4F6F-B207-FD4EEE6F6224}" type="presParOf" srcId="{0446BBE3-7351-4395-953D-617C4575551F}" destId="{07446256-9107-47AF-9C09-60E17F4CDFFE}" srcOrd="4" destOrd="0" presId="urn:microsoft.com/office/officeart/2008/layout/LinedList"/>
    <dgm:cxn modelId="{10F821B3-E69F-4AF3-A5E3-58CA3699C088}" type="presParOf" srcId="{0446BBE3-7351-4395-953D-617C4575551F}" destId="{9816D351-3E62-4F93-8CC5-37E5FA2AADB1}" srcOrd="5" destOrd="0" presId="urn:microsoft.com/office/officeart/2008/layout/LinedList"/>
    <dgm:cxn modelId="{422CEE3C-D79A-49B5-89EA-F008B8956CF4}" type="presParOf" srcId="{9816D351-3E62-4F93-8CC5-37E5FA2AADB1}" destId="{3F677319-5ECF-4609-8808-83226154C14B}" srcOrd="0" destOrd="0" presId="urn:microsoft.com/office/officeart/2008/layout/LinedList"/>
    <dgm:cxn modelId="{BE93FFAF-BCDC-4B25-87B2-B99CCEC09076}" type="presParOf" srcId="{9816D351-3E62-4F93-8CC5-37E5FA2AADB1}" destId="{3AFCAA7F-AEDC-4886-9BE1-016131FC17E7}" srcOrd="1" destOrd="0" presId="urn:microsoft.com/office/officeart/2008/layout/LinedList"/>
    <dgm:cxn modelId="{26E84072-4E4F-48C4-A079-135C6315899B}" type="presParOf" srcId="{0446BBE3-7351-4395-953D-617C4575551F}" destId="{026D8DF4-2694-458C-9967-921F6BEF5E5F}" srcOrd="6" destOrd="0" presId="urn:microsoft.com/office/officeart/2008/layout/LinedList"/>
    <dgm:cxn modelId="{29422869-E263-4B07-AEC9-5EEAA490D8C1}" type="presParOf" srcId="{0446BBE3-7351-4395-953D-617C4575551F}" destId="{B148745F-72BB-4461-8F31-7F45C36DB4B5}" srcOrd="7" destOrd="0" presId="urn:microsoft.com/office/officeart/2008/layout/LinedList"/>
    <dgm:cxn modelId="{0972F54C-66E7-4983-B07B-3112D0AC8F6D}" type="presParOf" srcId="{B148745F-72BB-4461-8F31-7F45C36DB4B5}" destId="{7F72ACF4-36E8-4A16-8060-8C8472A9ECE3}" srcOrd="0" destOrd="0" presId="urn:microsoft.com/office/officeart/2008/layout/LinedList"/>
    <dgm:cxn modelId="{9656787B-FDB7-4C48-B995-DDBEC5E903A8}" type="presParOf" srcId="{B148745F-72BB-4461-8F31-7F45C36DB4B5}" destId="{2E2C6E96-8BA9-436C-88C7-AE04E4137E8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AE05AFF-2F1B-4502-813A-248799BF6F4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pt-PT"/>
        </a:p>
      </dgm:t>
    </dgm:pt>
    <dgm:pt modelId="{47951727-8561-41D7-A3C0-CB89F6A66465}">
      <dgm:prSet phldrT="[Text]" custT="1"/>
      <dgm:spPr/>
      <dgm:t>
        <a:bodyPr/>
        <a:lstStyle/>
        <a:p>
          <a:r>
            <a:rPr lang="pt-PT" sz="2000">
              <a:solidFill>
                <a:schemeClr val="bg1">
                  <a:lumMod val="75000"/>
                </a:schemeClr>
              </a:solidFill>
              <a:latin typeface="Tenorite" panose="00000500000000000000" pitchFamily="2" charset="0"/>
            </a:rPr>
            <a:t>Team Profile</a:t>
          </a:r>
        </a:p>
      </dgm:t>
    </dgm:pt>
    <dgm:pt modelId="{E6D24430-1437-4839-829E-15589A4C81E1}" type="parTrans" cxnId="{F1177AE0-AC93-450C-B128-A06D841D4EA6}">
      <dgm:prSet/>
      <dgm:spPr/>
      <dgm:t>
        <a:bodyPr/>
        <a:lstStyle/>
        <a:p>
          <a:endParaRPr lang="pt-PT" sz="2000">
            <a:latin typeface="Tenorite" panose="00000500000000000000" pitchFamily="2" charset="0"/>
          </a:endParaRPr>
        </a:p>
      </dgm:t>
    </dgm:pt>
    <dgm:pt modelId="{E62880D9-969D-48E9-A42F-E89EC7E6EC0E}" type="sibTrans" cxnId="{F1177AE0-AC93-450C-B128-A06D841D4EA6}">
      <dgm:prSet/>
      <dgm:spPr/>
      <dgm:t>
        <a:bodyPr/>
        <a:lstStyle/>
        <a:p>
          <a:endParaRPr lang="pt-PT" sz="2000">
            <a:latin typeface="Tenorite" panose="00000500000000000000" pitchFamily="2" charset="0"/>
          </a:endParaRPr>
        </a:p>
      </dgm:t>
    </dgm:pt>
    <dgm:pt modelId="{194D3193-0950-469D-9E07-01FA62508C69}">
      <dgm:prSet phldrT="[Text]" custT="1"/>
      <dgm:spPr/>
      <dgm:t>
        <a:bodyPr/>
        <a:lstStyle/>
        <a:p>
          <a:r>
            <a:rPr lang="pt-PT" sz="2000">
              <a:solidFill>
                <a:schemeClr val="bg1">
                  <a:lumMod val="75000"/>
                </a:schemeClr>
              </a:solidFill>
              <a:latin typeface="Tenorite" panose="00000500000000000000" pitchFamily="2" charset="0"/>
            </a:rPr>
            <a:t>Main Factors Causing Attrition</a:t>
          </a:r>
        </a:p>
      </dgm:t>
    </dgm:pt>
    <dgm:pt modelId="{F635384D-2337-43E8-B8EF-39A7DAF6F02A}" type="parTrans" cxnId="{8F903C60-1C54-4C07-ADFE-4866E2DFE52D}">
      <dgm:prSet/>
      <dgm:spPr/>
      <dgm:t>
        <a:bodyPr/>
        <a:lstStyle/>
        <a:p>
          <a:endParaRPr lang="pt-PT" sz="2000">
            <a:latin typeface="Tenorite" panose="00000500000000000000" pitchFamily="2" charset="0"/>
          </a:endParaRPr>
        </a:p>
      </dgm:t>
    </dgm:pt>
    <dgm:pt modelId="{141120FA-D31B-4649-9CD7-81B5F7E109C5}" type="sibTrans" cxnId="{8F903C60-1C54-4C07-ADFE-4866E2DFE52D}">
      <dgm:prSet/>
      <dgm:spPr/>
      <dgm:t>
        <a:bodyPr/>
        <a:lstStyle/>
        <a:p>
          <a:endParaRPr lang="pt-PT" sz="2000">
            <a:latin typeface="Tenorite" panose="00000500000000000000" pitchFamily="2" charset="0"/>
          </a:endParaRPr>
        </a:p>
      </dgm:t>
    </dgm:pt>
    <dgm:pt modelId="{2678C3F4-ABF2-4B8D-95B3-5FE23BDF3897}">
      <dgm:prSet phldrT="[Text]" custT="1"/>
      <dgm:spPr/>
      <dgm:t>
        <a:bodyPr/>
        <a:lstStyle/>
        <a:p>
          <a:r>
            <a:rPr lang="pt-PT" sz="2000">
              <a:solidFill>
                <a:schemeClr val="bg1">
                  <a:lumMod val="75000"/>
                </a:schemeClr>
              </a:solidFill>
              <a:latin typeface="Tenorite" panose="00000500000000000000" pitchFamily="2" charset="0"/>
            </a:rPr>
            <a:t>Employee Attrition Rate</a:t>
          </a:r>
        </a:p>
      </dgm:t>
    </dgm:pt>
    <dgm:pt modelId="{34FF2C7C-4A46-4387-93DB-DEEFA8C13EB3}" type="parTrans" cxnId="{E0034517-4E40-4506-808D-80DD7A01B5F9}">
      <dgm:prSet/>
      <dgm:spPr/>
      <dgm:t>
        <a:bodyPr/>
        <a:lstStyle/>
        <a:p>
          <a:endParaRPr lang="pt-PT" sz="2000">
            <a:latin typeface="Tenorite" panose="00000500000000000000" pitchFamily="2" charset="0"/>
          </a:endParaRPr>
        </a:p>
      </dgm:t>
    </dgm:pt>
    <dgm:pt modelId="{98FA5CD7-8B11-4CCB-980B-9E1F164259B1}" type="sibTrans" cxnId="{E0034517-4E40-4506-808D-80DD7A01B5F9}">
      <dgm:prSet/>
      <dgm:spPr/>
      <dgm:t>
        <a:bodyPr/>
        <a:lstStyle/>
        <a:p>
          <a:endParaRPr lang="pt-PT" sz="2000">
            <a:latin typeface="Tenorite" panose="00000500000000000000" pitchFamily="2" charset="0"/>
          </a:endParaRPr>
        </a:p>
      </dgm:t>
    </dgm:pt>
    <dgm:pt modelId="{D6813AC2-7B2C-4D88-B316-FA531680C08C}">
      <dgm:prSet custT="1"/>
      <dgm:spPr/>
      <dgm:t>
        <a:bodyPr/>
        <a:lstStyle/>
        <a:p>
          <a:r>
            <a:rPr lang="pt-PT" sz="2000">
              <a:solidFill>
                <a:schemeClr val="tx1"/>
              </a:solidFill>
              <a:latin typeface="Tenorite" panose="00000500000000000000" pitchFamily="2" charset="0"/>
            </a:rPr>
            <a:t>Retention Strategies</a:t>
          </a:r>
        </a:p>
      </dgm:t>
    </dgm:pt>
    <dgm:pt modelId="{09870A42-A67B-4054-9AD9-86E8AE3F4E2F}" type="parTrans" cxnId="{5478B882-467C-4FCE-811F-166B7BFBBB15}">
      <dgm:prSet/>
      <dgm:spPr/>
      <dgm:t>
        <a:bodyPr/>
        <a:lstStyle/>
        <a:p>
          <a:endParaRPr lang="pt-PT" sz="2000">
            <a:latin typeface="Tenorite" panose="00000500000000000000" pitchFamily="2" charset="0"/>
          </a:endParaRPr>
        </a:p>
      </dgm:t>
    </dgm:pt>
    <dgm:pt modelId="{70B2E789-080E-4BE4-86B0-169B8FF4FF00}" type="sibTrans" cxnId="{5478B882-467C-4FCE-811F-166B7BFBBB15}">
      <dgm:prSet/>
      <dgm:spPr/>
      <dgm:t>
        <a:bodyPr/>
        <a:lstStyle/>
        <a:p>
          <a:endParaRPr lang="pt-PT" sz="2000">
            <a:latin typeface="Tenorite" panose="00000500000000000000" pitchFamily="2" charset="0"/>
          </a:endParaRPr>
        </a:p>
      </dgm:t>
    </dgm:pt>
    <dgm:pt modelId="{0446BBE3-7351-4395-953D-617C4575551F}" type="pres">
      <dgm:prSet presAssocID="{BAE05AFF-2F1B-4502-813A-248799BF6F47}" presName="vert0" presStyleCnt="0">
        <dgm:presLayoutVars>
          <dgm:dir/>
          <dgm:animOne val="branch"/>
          <dgm:animLvl val="lvl"/>
        </dgm:presLayoutVars>
      </dgm:prSet>
      <dgm:spPr/>
    </dgm:pt>
    <dgm:pt modelId="{DF8C8741-2E10-4087-A10B-6F8DF05D68F8}" type="pres">
      <dgm:prSet presAssocID="{47951727-8561-41D7-A3C0-CB89F6A66465}" presName="thickLine" presStyleLbl="alignNode1" presStyleIdx="0" presStyleCnt="4" custLinFactNeighborX="-869" custLinFactNeighborY="-53035"/>
      <dgm:spPr/>
    </dgm:pt>
    <dgm:pt modelId="{C4AB5A88-ECC2-458E-A7D1-EBDBD2FBE0F0}" type="pres">
      <dgm:prSet presAssocID="{47951727-8561-41D7-A3C0-CB89F6A66465}" presName="horz1" presStyleCnt="0"/>
      <dgm:spPr/>
    </dgm:pt>
    <dgm:pt modelId="{3A3F634F-F0CA-496A-BDA1-CFF3BF0375D1}" type="pres">
      <dgm:prSet presAssocID="{47951727-8561-41D7-A3C0-CB89F6A66465}" presName="tx1" presStyleLbl="revTx" presStyleIdx="0" presStyleCnt="4"/>
      <dgm:spPr/>
    </dgm:pt>
    <dgm:pt modelId="{E696807F-F32E-4A8B-A706-549421990E3E}" type="pres">
      <dgm:prSet presAssocID="{47951727-8561-41D7-A3C0-CB89F6A66465}" presName="vert1" presStyleCnt="0"/>
      <dgm:spPr/>
    </dgm:pt>
    <dgm:pt modelId="{45ADB1E2-D1EA-44CF-9BED-563458E43699}" type="pres">
      <dgm:prSet presAssocID="{194D3193-0950-469D-9E07-01FA62508C69}" presName="thickLine" presStyleLbl="alignNode1" presStyleIdx="1" presStyleCnt="4"/>
      <dgm:spPr/>
    </dgm:pt>
    <dgm:pt modelId="{10318B95-4B55-4C66-B6D8-F16BBFBE15F0}" type="pres">
      <dgm:prSet presAssocID="{194D3193-0950-469D-9E07-01FA62508C69}" presName="horz1" presStyleCnt="0"/>
      <dgm:spPr/>
    </dgm:pt>
    <dgm:pt modelId="{451FC847-6485-41D4-975B-3507CA98ED10}" type="pres">
      <dgm:prSet presAssocID="{194D3193-0950-469D-9E07-01FA62508C69}" presName="tx1" presStyleLbl="revTx" presStyleIdx="1" presStyleCnt="4"/>
      <dgm:spPr/>
    </dgm:pt>
    <dgm:pt modelId="{E1B1CD84-35FB-4530-A9D5-F2F9853A1930}" type="pres">
      <dgm:prSet presAssocID="{194D3193-0950-469D-9E07-01FA62508C69}" presName="vert1" presStyleCnt="0"/>
      <dgm:spPr/>
    </dgm:pt>
    <dgm:pt modelId="{07446256-9107-47AF-9C09-60E17F4CDFFE}" type="pres">
      <dgm:prSet presAssocID="{2678C3F4-ABF2-4B8D-95B3-5FE23BDF3897}" presName="thickLine" presStyleLbl="alignNode1" presStyleIdx="2" presStyleCnt="4"/>
      <dgm:spPr/>
    </dgm:pt>
    <dgm:pt modelId="{9816D351-3E62-4F93-8CC5-37E5FA2AADB1}" type="pres">
      <dgm:prSet presAssocID="{2678C3F4-ABF2-4B8D-95B3-5FE23BDF3897}" presName="horz1" presStyleCnt="0"/>
      <dgm:spPr/>
    </dgm:pt>
    <dgm:pt modelId="{3F677319-5ECF-4609-8808-83226154C14B}" type="pres">
      <dgm:prSet presAssocID="{2678C3F4-ABF2-4B8D-95B3-5FE23BDF3897}" presName="tx1" presStyleLbl="revTx" presStyleIdx="2" presStyleCnt="4"/>
      <dgm:spPr/>
    </dgm:pt>
    <dgm:pt modelId="{3AFCAA7F-AEDC-4886-9BE1-016131FC17E7}" type="pres">
      <dgm:prSet presAssocID="{2678C3F4-ABF2-4B8D-95B3-5FE23BDF3897}" presName="vert1" presStyleCnt="0"/>
      <dgm:spPr/>
    </dgm:pt>
    <dgm:pt modelId="{026D8DF4-2694-458C-9967-921F6BEF5E5F}" type="pres">
      <dgm:prSet presAssocID="{D6813AC2-7B2C-4D88-B316-FA531680C08C}" presName="thickLine" presStyleLbl="alignNode1" presStyleIdx="3" presStyleCnt="4"/>
      <dgm:spPr/>
    </dgm:pt>
    <dgm:pt modelId="{B148745F-72BB-4461-8F31-7F45C36DB4B5}" type="pres">
      <dgm:prSet presAssocID="{D6813AC2-7B2C-4D88-B316-FA531680C08C}" presName="horz1" presStyleCnt="0"/>
      <dgm:spPr/>
    </dgm:pt>
    <dgm:pt modelId="{7F72ACF4-36E8-4A16-8060-8C8472A9ECE3}" type="pres">
      <dgm:prSet presAssocID="{D6813AC2-7B2C-4D88-B316-FA531680C08C}" presName="tx1" presStyleLbl="revTx" presStyleIdx="3" presStyleCnt="4"/>
      <dgm:spPr/>
    </dgm:pt>
    <dgm:pt modelId="{2E2C6E96-8BA9-436C-88C7-AE04E4137E86}" type="pres">
      <dgm:prSet presAssocID="{D6813AC2-7B2C-4D88-B316-FA531680C08C}" presName="vert1" presStyleCnt="0"/>
      <dgm:spPr/>
    </dgm:pt>
  </dgm:ptLst>
  <dgm:cxnLst>
    <dgm:cxn modelId="{53E0CE01-AC80-4DC1-87F9-B626AA8C1B80}" type="presOf" srcId="{194D3193-0950-469D-9E07-01FA62508C69}" destId="{451FC847-6485-41D4-975B-3507CA98ED10}" srcOrd="0" destOrd="0" presId="urn:microsoft.com/office/officeart/2008/layout/LinedList"/>
    <dgm:cxn modelId="{03D9920E-2D95-4B61-8E32-A0322606A01A}" type="presOf" srcId="{D6813AC2-7B2C-4D88-B316-FA531680C08C}" destId="{7F72ACF4-36E8-4A16-8060-8C8472A9ECE3}" srcOrd="0" destOrd="0" presId="urn:microsoft.com/office/officeart/2008/layout/LinedList"/>
    <dgm:cxn modelId="{D6C41815-FEE2-4962-B49C-912C0170E077}" type="presOf" srcId="{47951727-8561-41D7-A3C0-CB89F6A66465}" destId="{3A3F634F-F0CA-496A-BDA1-CFF3BF0375D1}" srcOrd="0" destOrd="0" presId="urn:microsoft.com/office/officeart/2008/layout/LinedList"/>
    <dgm:cxn modelId="{E0034517-4E40-4506-808D-80DD7A01B5F9}" srcId="{BAE05AFF-2F1B-4502-813A-248799BF6F47}" destId="{2678C3F4-ABF2-4B8D-95B3-5FE23BDF3897}" srcOrd="2" destOrd="0" parTransId="{34FF2C7C-4A46-4387-93DB-DEEFA8C13EB3}" sibTransId="{98FA5CD7-8B11-4CCB-980B-9E1F164259B1}"/>
    <dgm:cxn modelId="{8F903C60-1C54-4C07-ADFE-4866E2DFE52D}" srcId="{BAE05AFF-2F1B-4502-813A-248799BF6F47}" destId="{194D3193-0950-469D-9E07-01FA62508C69}" srcOrd="1" destOrd="0" parTransId="{F635384D-2337-43E8-B8EF-39A7DAF6F02A}" sibTransId="{141120FA-D31B-4649-9CD7-81B5F7E109C5}"/>
    <dgm:cxn modelId="{5478B882-467C-4FCE-811F-166B7BFBBB15}" srcId="{BAE05AFF-2F1B-4502-813A-248799BF6F47}" destId="{D6813AC2-7B2C-4D88-B316-FA531680C08C}" srcOrd="3" destOrd="0" parTransId="{09870A42-A67B-4054-9AD9-86E8AE3F4E2F}" sibTransId="{70B2E789-080E-4BE4-86B0-169B8FF4FF00}"/>
    <dgm:cxn modelId="{990526BC-AE7E-46CD-9A64-2064A77AA2AF}" type="presOf" srcId="{BAE05AFF-2F1B-4502-813A-248799BF6F47}" destId="{0446BBE3-7351-4395-953D-617C4575551F}" srcOrd="0" destOrd="0" presId="urn:microsoft.com/office/officeart/2008/layout/LinedList"/>
    <dgm:cxn modelId="{419B27BC-FD5F-4324-B87F-B545ED975EBC}" type="presOf" srcId="{2678C3F4-ABF2-4B8D-95B3-5FE23BDF3897}" destId="{3F677319-5ECF-4609-8808-83226154C14B}" srcOrd="0" destOrd="0" presId="urn:microsoft.com/office/officeart/2008/layout/LinedList"/>
    <dgm:cxn modelId="{F1177AE0-AC93-450C-B128-A06D841D4EA6}" srcId="{BAE05AFF-2F1B-4502-813A-248799BF6F47}" destId="{47951727-8561-41D7-A3C0-CB89F6A66465}" srcOrd="0" destOrd="0" parTransId="{E6D24430-1437-4839-829E-15589A4C81E1}" sibTransId="{E62880D9-969D-48E9-A42F-E89EC7E6EC0E}"/>
    <dgm:cxn modelId="{4CE77ECF-C40B-4915-A6D4-00B3E5852400}" type="presParOf" srcId="{0446BBE3-7351-4395-953D-617C4575551F}" destId="{DF8C8741-2E10-4087-A10B-6F8DF05D68F8}" srcOrd="0" destOrd="0" presId="urn:microsoft.com/office/officeart/2008/layout/LinedList"/>
    <dgm:cxn modelId="{5F00416C-CA09-4F45-8406-D53552A2F3AE}" type="presParOf" srcId="{0446BBE3-7351-4395-953D-617C4575551F}" destId="{C4AB5A88-ECC2-458E-A7D1-EBDBD2FBE0F0}" srcOrd="1" destOrd="0" presId="urn:microsoft.com/office/officeart/2008/layout/LinedList"/>
    <dgm:cxn modelId="{F0DAC6C6-6041-4F48-8281-3CF995611A6E}" type="presParOf" srcId="{C4AB5A88-ECC2-458E-A7D1-EBDBD2FBE0F0}" destId="{3A3F634F-F0CA-496A-BDA1-CFF3BF0375D1}" srcOrd="0" destOrd="0" presId="urn:microsoft.com/office/officeart/2008/layout/LinedList"/>
    <dgm:cxn modelId="{34332BF0-234D-4A72-ACA7-B2ED1C60D92A}" type="presParOf" srcId="{C4AB5A88-ECC2-458E-A7D1-EBDBD2FBE0F0}" destId="{E696807F-F32E-4A8B-A706-549421990E3E}" srcOrd="1" destOrd="0" presId="urn:microsoft.com/office/officeart/2008/layout/LinedList"/>
    <dgm:cxn modelId="{07F97BDE-12C9-40B4-AC67-BF4E31C1CD4C}" type="presParOf" srcId="{0446BBE3-7351-4395-953D-617C4575551F}" destId="{45ADB1E2-D1EA-44CF-9BED-563458E43699}" srcOrd="2" destOrd="0" presId="urn:microsoft.com/office/officeart/2008/layout/LinedList"/>
    <dgm:cxn modelId="{446F34E3-F106-4813-BF4C-DB7D54E298DC}" type="presParOf" srcId="{0446BBE3-7351-4395-953D-617C4575551F}" destId="{10318B95-4B55-4C66-B6D8-F16BBFBE15F0}" srcOrd="3" destOrd="0" presId="urn:microsoft.com/office/officeart/2008/layout/LinedList"/>
    <dgm:cxn modelId="{A38E731A-C260-4F92-A463-921738B10657}" type="presParOf" srcId="{10318B95-4B55-4C66-B6D8-F16BBFBE15F0}" destId="{451FC847-6485-41D4-975B-3507CA98ED10}" srcOrd="0" destOrd="0" presId="urn:microsoft.com/office/officeart/2008/layout/LinedList"/>
    <dgm:cxn modelId="{E050A8BC-A7E0-4E2B-8E35-EFFB9D870DD3}" type="presParOf" srcId="{10318B95-4B55-4C66-B6D8-F16BBFBE15F0}" destId="{E1B1CD84-35FB-4530-A9D5-F2F9853A1930}" srcOrd="1" destOrd="0" presId="urn:microsoft.com/office/officeart/2008/layout/LinedList"/>
    <dgm:cxn modelId="{A36C0A20-DF58-4F6F-B207-FD4EEE6F6224}" type="presParOf" srcId="{0446BBE3-7351-4395-953D-617C4575551F}" destId="{07446256-9107-47AF-9C09-60E17F4CDFFE}" srcOrd="4" destOrd="0" presId="urn:microsoft.com/office/officeart/2008/layout/LinedList"/>
    <dgm:cxn modelId="{10F821B3-E69F-4AF3-A5E3-58CA3699C088}" type="presParOf" srcId="{0446BBE3-7351-4395-953D-617C4575551F}" destId="{9816D351-3E62-4F93-8CC5-37E5FA2AADB1}" srcOrd="5" destOrd="0" presId="urn:microsoft.com/office/officeart/2008/layout/LinedList"/>
    <dgm:cxn modelId="{422CEE3C-D79A-49B5-89EA-F008B8956CF4}" type="presParOf" srcId="{9816D351-3E62-4F93-8CC5-37E5FA2AADB1}" destId="{3F677319-5ECF-4609-8808-83226154C14B}" srcOrd="0" destOrd="0" presId="urn:microsoft.com/office/officeart/2008/layout/LinedList"/>
    <dgm:cxn modelId="{BE93FFAF-BCDC-4B25-87B2-B99CCEC09076}" type="presParOf" srcId="{9816D351-3E62-4F93-8CC5-37E5FA2AADB1}" destId="{3AFCAA7F-AEDC-4886-9BE1-016131FC17E7}" srcOrd="1" destOrd="0" presId="urn:microsoft.com/office/officeart/2008/layout/LinedList"/>
    <dgm:cxn modelId="{26E84072-4E4F-48C4-A079-135C6315899B}" type="presParOf" srcId="{0446BBE3-7351-4395-953D-617C4575551F}" destId="{026D8DF4-2694-458C-9967-921F6BEF5E5F}" srcOrd="6" destOrd="0" presId="urn:microsoft.com/office/officeart/2008/layout/LinedList"/>
    <dgm:cxn modelId="{29422869-E263-4B07-AEC9-5EEAA490D8C1}" type="presParOf" srcId="{0446BBE3-7351-4395-953D-617C4575551F}" destId="{B148745F-72BB-4461-8F31-7F45C36DB4B5}" srcOrd="7" destOrd="0" presId="urn:microsoft.com/office/officeart/2008/layout/LinedList"/>
    <dgm:cxn modelId="{0972F54C-66E7-4983-B07B-3112D0AC8F6D}" type="presParOf" srcId="{B148745F-72BB-4461-8F31-7F45C36DB4B5}" destId="{7F72ACF4-36E8-4A16-8060-8C8472A9ECE3}" srcOrd="0" destOrd="0" presId="urn:microsoft.com/office/officeart/2008/layout/LinedList"/>
    <dgm:cxn modelId="{9656787B-FDB7-4C48-B995-DDBEC5E903A8}" type="presParOf" srcId="{B148745F-72BB-4461-8F31-7F45C36DB4B5}" destId="{2E2C6E96-8BA9-436C-88C7-AE04E4137E8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D9EED-196A-4FF3-8C13-4D2CFADA9037}"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pt-PT"/>
        </a:p>
      </dgm:t>
    </dgm:pt>
    <dgm:pt modelId="{2576F7B2-3E53-4F61-A9E5-0A71EBFCCB12}">
      <dgm:prSet phldrT="[Text]" custT="1"/>
      <dgm:spPr>
        <a:noFill/>
        <a:ln>
          <a:solidFill>
            <a:schemeClr val="bg1">
              <a:lumMod val="95000"/>
            </a:schemeClr>
          </a:solidFill>
        </a:ln>
      </dgm:spPr>
      <dgm:t>
        <a:bodyPr/>
        <a:lstStyle/>
        <a:p>
          <a:pPr algn="l">
            <a:buNone/>
          </a:pPr>
          <a:r>
            <a:rPr lang="pt-PT" sz="2400" b="1" kern="1200" cap="all">
              <a:solidFill>
                <a:schemeClr val="accent1">
                  <a:lumMod val="75000"/>
                </a:schemeClr>
              </a:solidFill>
              <a:latin typeface="Tenorite" panose="00000500000000000000" pitchFamily="2" charset="0"/>
            </a:rPr>
            <a:t>training and development</a:t>
          </a:r>
          <a:endParaRPr lang="pt-PT" sz="2400" b="1" kern="1200">
            <a:solidFill>
              <a:schemeClr val="accent1">
                <a:lumMod val="75000"/>
              </a:schemeClr>
            </a:solidFill>
            <a:latin typeface="Tenorite" panose="00000500000000000000" pitchFamily="2" charset="0"/>
          </a:endParaRPr>
        </a:p>
      </dgm:t>
    </dgm:pt>
    <dgm:pt modelId="{B1B2ABF2-B11E-4FDA-9E68-47088C604E29}" type="parTrans" cxnId="{85CD48F0-EA71-452F-95C5-F3DBF29EC2EF}">
      <dgm:prSet/>
      <dgm:spPr/>
      <dgm:t>
        <a:bodyPr/>
        <a:lstStyle/>
        <a:p>
          <a:endParaRPr lang="pt-PT">
            <a:solidFill>
              <a:schemeClr val="tx1"/>
            </a:solidFill>
            <a:latin typeface="Tenorite" panose="00000500000000000000" pitchFamily="2" charset="0"/>
          </a:endParaRPr>
        </a:p>
      </dgm:t>
    </dgm:pt>
    <dgm:pt modelId="{3C5F3964-3125-41D8-BF7B-B0844040C23D}" type="sibTrans" cxnId="{85CD48F0-EA71-452F-95C5-F3DBF29EC2EF}">
      <dgm:prSet/>
      <dgm:spPr/>
      <dgm:t>
        <a:bodyPr/>
        <a:lstStyle/>
        <a:p>
          <a:endParaRPr lang="pt-PT">
            <a:solidFill>
              <a:schemeClr val="tx1"/>
            </a:solidFill>
            <a:latin typeface="Tenorite" panose="00000500000000000000" pitchFamily="2" charset="0"/>
          </a:endParaRPr>
        </a:p>
      </dgm:t>
    </dgm:pt>
    <dgm:pt modelId="{E3F9C82C-EA49-4A5A-9AAE-46208639E0DF}">
      <dgm:prSet phldrT="[Text]" custT="1"/>
      <dgm:spPr>
        <a:noFill/>
        <a:ln>
          <a:solidFill>
            <a:schemeClr val="bg1">
              <a:lumMod val="95000"/>
            </a:schemeClr>
          </a:solidFill>
        </a:ln>
      </dgm:spPr>
      <dgm:t>
        <a:bodyPr/>
        <a:lstStyle/>
        <a:p>
          <a:pPr algn="l" rtl="0">
            <a:buFont typeface="Arial" panose="020B0604020202020204" pitchFamily="34" charset="0"/>
            <a:buChar char="•"/>
          </a:pPr>
          <a:r>
            <a:rPr lang="en-US" sz="2000" kern="1200">
              <a:solidFill>
                <a:schemeClr val="tx1"/>
              </a:solidFill>
              <a:latin typeface="Tenorite" panose="00000500000000000000" pitchFamily="2" charset="0"/>
            </a:rPr>
            <a:t>Identify </a:t>
          </a:r>
          <a:r>
            <a:rPr kumimoji="0" lang="en-US" sz="2000" b="0" i="0" u="none" strike="noStrike" kern="1200" cap="none" spc="50" normalizeH="0" baseline="0">
              <a:ln>
                <a:noFill/>
              </a:ln>
              <a:solidFill>
                <a:schemeClr val="accent1">
                  <a:lumMod val="75000"/>
                </a:schemeClr>
              </a:solidFill>
              <a:effectLst/>
              <a:uLnTx/>
              <a:uFillTx/>
              <a:latin typeface="Tenorite"/>
              <a:ea typeface="+mn-ea"/>
              <a:cs typeface="+mn-cs"/>
            </a:rPr>
            <a:t>Training needs </a:t>
          </a:r>
          <a:r>
            <a:rPr lang="en-US" sz="2000" kern="1200">
              <a:solidFill>
                <a:schemeClr val="tx1"/>
              </a:solidFill>
              <a:latin typeface="Tenorite" panose="00000500000000000000" pitchFamily="2" charset="0"/>
            </a:rPr>
            <a:t>and provide the appropriate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Training</a:t>
          </a:r>
          <a:r>
            <a:rPr lang="en-US" sz="2000" kern="1200">
              <a:solidFill>
                <a:schemeClr val="tx1"/>
              </a:solidFill>
              <a:latin typeface="Tenorite" panose="00000500000000000000" pitchFamily="2" charset="0"/>
            </a:rPr>
            <a:t> to enhance the employee’s skills, motivating them to reach higher positions.</a:t>
          </a:r>
          <a:endParaRPr lang="pt-PT" sz="2000" kern="1200">
            <a:solidFill>
              <a:schemeClr val="tx1"/>
            </a:solidFill>
            <a:latin typeface="Tenorite" panose="00000500000000000000" pitchFamily="2" charset="0"/>
          </a:endParaRPr>
        </a:p>
      </dgm:t>
    </dgm:pt>
    <dgm:pt modelId="{1144E476-CE6E-4199-A5EC-0CD621D96423}" type="parTrans" cxnId="{02734EC5-1B16-4401-9AF9-E485B02729EB}">
      <dgm:prSet/>
      <dgm:spPr/>
      <dgm:t>
        <a:bodyPr/>
        <a:lstStyle/>
        <a:p>
          <a:endParaRPr lang="pt-PT">
            <a:solidFill>
              <a:schemeClr val="tx1"/>
            </a:solidFill>
            <a:latin typeface="Tenorite" panose="00000500000000000000" pitchFamily="2" charset="0"/>
          </a:endParaRPr>
        </a:p>
      </dgm:t>
    </dgm:pt>
    <dgm:pt modelId="{B2488163-F0A8-499F-9157-75AF61E712AC}" type="sibTrans" cxnId="{02734EC5-1B16-4401-9AF9-E485B02729EB}">
      <dgm:prSet/>
      <dgm:spPr/>
      <dgm:t>
        <a:bodyPr/>
        <a:lstStyle/>
        <a:p>
          <a:endParaRPr lang="pt-PT">
            <a:solidFill>
              <a:schemeClr val="tx1"/>
            </a:solidFill>
            <a:latin typeface="Tenorite" panose="00000500000000000000" pitchFamily="2" charset="0"/>
          </a:endParaRPr>
        </a:p>
      </dgm:t>
    </dgm:pt>
    <dgm:pt modelId="{4E1F6F5C-990D-4636-818A-2B7E246AEF2B}">
      <dgm:prSet phldrT="[Text]" custT="1"/>
      <dgm:spPr>
        <a:noFill/>
        <a:ln>
          <a:solidFill>
            <a:schemeClr val="bg1">
              <a:lumMod val="95000"/>
            </a:schemeClr>
          </a:solidFill>
        </a:ln>
      </dgm:spPr>
      <dgm:t>
        <a:bodyPr/>
        <a:lstStyle/>
        <a:p>
          <a:pPr algn="l">
            <a:buNone/>
          </a:pPr>
          <a:r>
            <a:rPr lang="en-US" sz="2400" b="1" kern="1200" cap="all" noProof="0">
              <a:solidFill>
                <a:schemeClr val="accent1">
                  <a:lumMod val="75000"/>
                </a:schemeClr>
              </a:solidFill>
              <a:latin typeface="Tenorite" panose="00000500000000000000" pitchFamily="2" charset="0"/>
            </a:rPr>
            <a:t>Career DEVELOPMENT PLAN</a:t>
          </a:r>
          <a:endParaRPr lang="en-US" sz="2400" b="1" kern="1200" noProof="0">
            <a:solidFill>
              <a:schemeClr val="accent1">
                <a:lumMod val="75000"/>
              </a:schemeClr>
            </a:solidFill>
            <a:latin typeface="Tenorite" panose="00000500000000000000" pitchFamily="2" charset="0"/>
          </a:endParaRPr>
        </a:p>
      </dgm:t>
    </dgm:pt>
    <dgm:pt modelId="{A11B8DFE-A396-4206-8E5D-6A5FEB1E5C27}" type="parTrans" cxnId="{C4B57DF5-6023-445B-868F-A602F80E7EBB}">
      <dgm:prSet/>
      <dgm:spPr/>
      <dgm:t>
        <a:bodyPr/>
        <a:lstStyle/>
        <a:p>
          <a:endParaRPr lang="pt-PT">
            <a:solidFill>
              <a:schemeClr val="tx1"/>
            </a:solidFill>
            <a:latin typeface="Tenorite" panose="00000500000000000000" pitchFamily="2" charset="0"/>
          </a:endParaRPr>
        </a:p>
      </dgm:t>
    </dgm:pt>
    <dgm:pt modelId="{F7023D09-9686-4FED-AF0F-D9C25881B06E}" type="sibTrans" cxnId="{C4B57DF5-6023-445B-868F-A602F80E7EBB}">
      <dgm:prSet/>
      <dgm:spPr/>
      <dgm:t>
        <a:bodyPr/>
        <a:lstStyle/>
        <a:p>
          <a:endParaRPr lang="pt-PT">
            <a:solidFill>
              <a:schemeClr val="tx1"/>
            </a:solidFill>
            <a:latin typeface="Tenorite" panose="00000500000000000000" pitchFamily="2" charset="0"/>
          </a:endParaRPr>
        </a:p>
      </dgm:t>
    </dgm:pt>
    <dgm:pt modelId="{83AFD867-7EB6-4CC8-9260-27F5B083285B}">
      <dgm:prSet phldrT="[Text]" custT="1"/>
      <dgm:spPr>
        <a:noFill/>
        <a:ln>
          <a:solidFill>
            <a:schemeClr val="bg1">
              <a:lumMod val="95000"/>
            </a:schemeClr>
          </a:solidFill>
        </a:ln>
      </dgm:spPr>
      <dgm:t>
        <a:bodyPr/>
        <a:lstStyle/>
        <a:p>
          <a:pPr algn="l" rtl="0">
            <a:buFont typeface="Arial" panose="020B0604020202020204" pitchFamily="34" charset="0"/>
            <a:buChar char="•"/>
          </a:pPr>
          <a:r>
            <a:rPr lang="en-US" sz="2000" kern="1200">
              <a:solidFill>
                <a:schemeClr val="tx1"/>
              </a:solidFill>
              <a:latin typeface="Tenorite" panose="00000500000000000000" pitchFamily="2" charset="0"/>
            </a:rPr>
            <a:t>Define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career development programs </a:t>
          </a:r>
          <a:r>
            <a:rPr lang="en-US" sz="2000" kern="1200">
              <a:solidFill>
                <a:schemeClr val="tx1"/>
              </a:solidFill>
              <a:latin typeface="Tenorite" panose="00000500000000000000" pitchFamily="2" charset="0"/>
            </a:rPr>
            <a:t>to provide employees with a clear idea of possible career trajectories.</a:t>
          </a:r>
          <a:endParaRPr lang="pt-PT" sz="2000" kern="1200">
            <a:solidFill>
              <a:schemeClr val="tx1"/>
            </a:solidFill>
            <a:latin typeface="Tenorite" panose="00000500000000000000" pitchFamily="2" charset="0"/>
          </a:endParaRPr>
        </a:p>
      </dgm:t>
    </dgm:pt>
    <dgm:pt modelId="{1F2BC8F2-430A-4402-BDD9-537FEDDAE59E}" type="parTrans" cxnId="{8873A0A5-3183-415F-ACAD-9EC397F15C70}">
      <dgm:prSet/>
      <dgm:spPr/>
      <dgm:t>
        <a:bodyPr/>
        <a:lstStyle/>
        <a:p>
          <a:endParaRPr lang="pt-PT">
            <a:solidFill>
              <a:schemeClr val="tx1"/>
            </a:solidFill>
            <a:latin typeface="Tenorite" panose="00000500000000000000" pitchFamily="2" charset="0"/>
          </a:endParaRPr>
        </a:p>
      </dgm:t>
    </dgm:pt>
    <dgm:pt modelId="{C155EB8E-09A3-4062-BBBE-F788DB035ACE}" type="sibTrans" cxnId="{8873A0A5-3183-415F-ACAD-9EC397F15C70}">
      <dgm:prSet/>
      <dgm:spPr/>
      <dgm:t>
        <a:bodyPr/>
        <a:lstStyle/>
        <a:p>
          <a:endParaRPr lang="pt-PT">
            <a:solidFill>
              <a:schemeClr val="tx1"/>
            </a:solidFill>
            <a:latin typeface="Tenorite" panose="00000500000000000000" pitchFamily="2" charset="0"/>
          </a:endParaRPr>
        </a:p>
      </dgm:t>
    </dgm:pt>
    <dgm:pt modelId="{06E84627-3FF4-4E21-9349-87617DF366D9}">
      <dgm:prSet custT="1"/>
      <dgm:spPr>
        <a:noFill/>
        <a:ln>
          <a:solidFill>
            <a:schemeClr val="bg1">
              <a:lumMod val="95000"/>
            </a:schemeClr>
          </a:solidFill>
        </a:ln>
      </dgm:spPr>
      <dgm:t>
        <a:bodyPr/>
        <a:lstStyle/>
        <a:p>
          <a:pPr algn="l" rtl="0">
            <a:buFont typeface="Arial" panose="020B0604020202020204" pitchFamily="34" charset="0"/>
            <a:buChar char="•"/>
          </a:pPr>
          <a:r>
            <a:rPr lang="pt-PT" sz="2000" kern="1200">
              <a:solidFill>
                <a:schemeClr val="tx1"/>
              </a:solidFill>
              <a:latin typeface="Tenorite" panose="00000500000000000000" pitchFamily="2" charset="0"/>
            </a:rPr>
            <a:t>Define </a:t>
          </a:r>
          <a:r>
            <a:rPr kumimoji="0" lang="pt-PT" sz="2000" b="0" i="0" u="none" strike="noStrike" kern="1200" cap="none" spc="50" normalizeH="0" baseline="0">
              <a:ln>
                <a:noFill/>
              </a:ln>
              <a:solidFill>
                <a:srgbClr val="3B9EB1">
                  <a:lumMod val="75000"/>
                </a:srgbClr>
              </a:solidFill>
              <a:effectLst/>
              <a:uLnTx/>
              <a:uFillTx/>
              <a:latin typeface="Tenorite"/>
              <a:ea typeface="+mn-ea"/>
              <a:cs typeface="+mn-cs"/>
            </a:rPr>
            <a:t>Young Talent programs</a:t>
          </a:r>
          <a:r>
            <a:rPr lang="pt-PT" sz="2000" kern="1200">
              <a:solidFill>
                <a:schemeClr val="tx1"/>
              </a:solidFill>
              <a:latin typeface="Tenorite" panose="00000500000000000000" pitchFamily="2" charset="0"/>
            </a:rPr>
            <a:t>, targetting the younger employee profile.</a:t>
          </a:r>
        </a:p>
      </dgm:t>
    </dgm:pt>
    <dgm:pt modelId="{15B1A242-BACD-4D12-8594-978DC7CB4A4C}" type="parTrans" cxnId="{BF42BD81-CD80-4435-AFB2-7D176D21E37B}">
      <dgm:prSet/>
      <dgm:spPr/>
      <dgm:t>
        <a:bodyPr/>
        <a:lstStyle/>
        <a:p>
          <a:endParaRPr lang="pt-PT"/>
        </a:p>
      </dgm:t>
    </dgm:pt>
    <dgm:pt modelId="{C1D3DF02-1A29-4919-A9E5-AC3590241A40}" type="sibTrans" cxnId="{BF42BD81-CD80-4435-AFB2-7D176D21E37B}">
      <dgm:prSet/>
      <dgm:spPr/>
      <dgm:t>
        <a:bodyPr/>
        <a:lstStyle/>
        <a:p>
          <a:endParaRPr lang="pt-PT"/>
        </a:p>
      </dgm:t>
    </dgm:pt>
    <dgm:pt modelId="{C2A6DB1D-ABC5-4079-A4CC-D59A9024ED69}">
      <dgm:prSet phldrT="[Text]" custT="1"/>
      <dgm:spPr>
        <a:noFill/>
        <a:ln>
          <a:solidFill>
            <a:schemeClr val="bg1">
              <a:lumMod val="95000"/>
            </a:schemeClr>
          </a:solidFill>
        </a:ln>
      </dgm:spPr>
      <dgm:t>
        <a:bodyPr/>
        <a:lstStyle/>
        <a:p>
          <a:pPr algn="l" rtl="0">
            <a:buFont typeface="Arial" panose="020B0604020202020204" pitchFamily="34" charset="0"/>
            <a:buChar char="•"/>
          </a:pPr>
          <a:r>
            <a:rPr lang="en-US" sz="2000" kern="1200">
              <a:solidFill>
                <a:schemeClr val="tx1"/>
              </a:solidFill>
              <a:latin typeface="Tenorite" panose="00000500000000000000" pitchFamily="2" charset="0"/>
            </a:rPr>
            <a:t>Identify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high-potential employees </a:t>
          </a:r>
          <a:r>
            <a:rPr lang="en-US" sz="2000" kern="1200">
              <a:solidFill>
                <a:schemeClr val="tx1"/>
              </a:solidFill>
              <a:latin typeface="Tenorite" panose="00000500000000000000" pitchFamily="2" charset="0"/>
            </a:rPr>
            <a:t>and offer professional growth opportunities that will position them for future leadership positions.</a:t>
          </a:r>
          <a:endParaRPr lang="pt-PT" sz="2000" kern="1200">
            <a:solidFill>
              <a:schemeClr val="tx1"/>
            </a:solidFill>
            <a:latin typeface="Tenorite" panose="00000500000000000000" pitchFamily="2" charset="0"/>
          </a:endParaRPr>
        </a:p>
      </dgm:t>
    </dgm:pt>
    <dgm:pt modelId="{9CDA3FE1-ECD2-4153-AC9D-2E6158F9D635}" type="parTrans" cxnId="{1C97BBF7-2DC2-4FE4-A861-9EFFF9DB3D14}">
      <dgm:prSet/>
      <dgm:spPr/>
      <dgm:t>
        <a:bodyPr/>
        <a:lstStyle/>
        <a:p>
          <a:endParaRPr lang="pt-PT"/>
        </a:p>
      </dgm:t>
    </dgm:pt>
    <dgm:pt modelId="{60DD8059-E6CE-46C2-BCFF-A991BA6C7125}" type="sibTrans" cxnId="{1C97BBF7-2DC2-4FE4-A861-9EFFF9DB3D14}">
      <dgm:prSet/>
      <dgm:spPr/>
      <dgm:t>
        <a:bodyPr/>
        <a:lstStyle/>
        <a:p>
          <a:endParaRPr lang="pt-PT"/>
        </a:p>
      </dgm:t>
    </dgm:pt>
    <dgm:pt modelId="{D6E684A3-BEB5-429D-A121-371A07198118}" type="pres">
      <dgm:prSet presAssocID="{011D9EED-196A-4FF3-8C13-4D2CFADA9037}" presName="diagram" presStyleCnt="0">
        <dgm:presLayoutVars>
          <dgm:dir/>
          <dgm:resizeHandles val="exact"/>
        </dgm:presLayoutVars>
      </dgm:prSet>
      <dgm:spPr/>
    </dgm:pt>
    <dgm:pt modelId="{4917845C-C78B-41F1-AC07-FDB9FF46B599}" type="pres">
      <dgm:prSet presAssocID="{2576F7B2-3E53-4F61-A9E5-0A71EBFCCB12}" presName="node" presStyleLbl="node1" presStyleIdx="0" presStyleCnt="2" custScaleY="127463">
        <dgm:presLayoutVars>
          <dgm:bulletEnabled val="1"/>
        </dgm:presLayoutVars>
      </dgm:prSet>
      <dgm:spPr/>
    </dgm:pt>
    <dgm:pt modelId="{7BA2175C-AC33-4861-96DE-1E68E8FF5B27}" type="pres">
      <dgm:prSet presAssocID="{3C5F3964-3125-41D8-BF7B-B0844040C23D}" presName="sibTrans" presStyleCnt="0"/>
      <dgm:spPr/>
    </dgm:pt>
    <dgm:pt modelId="{A08F240C-466A-437E-84A2-43AA6255B7FA}" type="pres">
      <dgm:prSet presAssocID="{4E1F6F5C-990D-4636-818A-2B7E246AEF2B}" presName="node" presStyleLbl="node1" presStyleIdx="1" presStyleCnt="2" custScaleY="126905">
        <dgm:presLayoutVars>
          <dgm:bulletEnabled val="1"/>
        </dgm:presLayoutVars>
      </dgm:prSet>
      <dgm:spPr/>
    </dgm:pt>
  </dgm:ptLst>
  <dgm:cxnLst>
    <dgm:cxn modelId="{5E147718-9BEA-40A0-834C-048DDB28926D}" type="presOf" srcId="{011D9EED-196A-4FF3-8C13-4D2CFADA9037}" destId="{D6E684A3-BEB5-429D-A121-371A07198118}" srcOrd="0" destOrd="0" presId="urn:microsoft.com/office/officeart/2005/8/layout/default"/>
    <dgm:cxn modelId="{D2C91F23-C6C9-487A-A440-C123DC8A9E6D}" type="presOf" srcId="{06E84627-3FF4-4E21-9349-87617DF366D9}" destId="{4917845C-C78B-41F1-AC07-FDB9FF46B599}" srcOrd="0" destOrd="2" presId="urn:microsoft.com/office/officeart/2005/8/layout/default"/>
    <dgm:cxn modelId="{474C1F35-A5CE-4193-B11C-F2A23E5E6691}" type="presOf" srcId="{2576F7B2-3E53-4F61-A9E5-0A71EBFCCB12}" destId="{4917845C-C78B-41F1-AC07-FDB9FF46B599}" srcOrd="0" destOrd="0" presId="urn:microsoft.com/office/officeart/2005/8/layout/default"/>
    <dgm:cxn modelId="{BF42BD81-CD80-4435-AFB2-7D176D21E37B}" srcId="{2576F7B2-3E53-4F61-A9E5-0A71EBFCCB12}" destId="{06E84627-3FF4-4E21-9349-87617DF366D9}" srcOrd="1" destOrd="0" parTransId="{15B1A242-BACD-4D12-8594-978DC7CB4A4C}" sibTransId="{C1D3DF02-1A29-4919-A9E5-AC3590241A40}"/>
    <dgm:cxn modelId="{8873A0A5-3183-415F-ACAD-9EC397F15C70}" srcId="{4E1F6F5C-990D-4636-818A-2B7E246AEF2B}" destId="{83AFD867-7EB6-4CC8-9260-27F5B083285B}" srcOrd="0" destOrd="0" parTransId="{1F2BC8F2-430A-4402-BDD9-537FEDDAE59E}" sibTransId="{C155EB8E-09A3-4062-BBBE-F788DB035ACE}"/>
    <dgm:cxn modelId="{2B64E9A5-4C77-4762-AD10-64C3564876AE}" type="presOf" srcId="{C2A6DB1D-ABC5-4079-A4CC-D59A9024ED69}" destId="{A08F240C-466A-437E-84A2-43AA6255B7FA}" srcOrd="0" destOrd="2" presId="urn:microsoft.com/office/officeart/2005/8/layout/default"/>
    <dgm:cxn modelId="{02734EC5-1B16-4401-9AF9-E485B02729EB}" srcId="{2576F7B2-3E53-4F61-A9E5-0A71EBFCCB12}" destId="{E3F9C82C-EA49-4A5A-9AAE-46208639E0DF}" srcOrd="0" destOrd="0" parTransId="{1144E476-CE6E-4199-A5EC-0CD621D96423}" sibTransId="{B2488163-F0A8-499F-9157-75AF61E712AC}"/>
    <dgm:cxn modelId="{5B84BCC6-2A7D-4D1F-82C7-65CF18424562}" type="presOf" srcId="{4E1F6F5C-990D-4636-818A-2B7E246AEF2B}" destId="{A08F240C-466A-437E-84A2-43AA6255B7FA}" srcOrd="0" destOrd="0" presId="urn:microsoft.com/office/officeart/2005/8/layout/default"/>
    <dgm:cxn modelId="{9CC00CE6-24C8-4CB7-8CCB-D8D5CE5BA5DC}" type="presOf" srcId="{E3F9C82C-EA49-4A5A-9AAE-46208639E0DF}" destId="{4917845C-C78B-41F1-AC07-FDB9FF46B599}" srcOrd="0" destOrd="1" presId="urn:microsoft.com/office/officeart/2005/8/layout/default"/>
    <dgm:cxn modelId="{85CD48F0-EA71-452F-95C5-F3DBF29EC2EF}" srcId="{011D9EED-196A-4FF3-8C13-4D2CFADA9037}" destId="{2576F7B2-3E53-4F61-A9E5-0A71EBFCCB12}" srcOrd="0" destOrd="0" parTransId="{B1B2ABF2-B11E-4FDA-9E68-47088C604E29}" sibTransId="{3C5F3964-3125-41D8-BF7B-B0844040C23D}"/>
    <dgm:cxn modelId="{D92E3AF1-D0C7-4786-8C2A-B83D05004AFD}" type="presOf" srcId="{83AFD867-7EB6-4CC8-9260-27F5B083285B}" destId="{A08F240C-466A-437E-84A2-43AA6255B7FA}" srcOrd="0" destOrd="1" presId="urn:microsoft.com/office/officeart/2005/8/layout/default"/>
    <dgm:cxn modelId="{C4B57DF5-6023-445B-868F-A602F80E7EBB}" srcId="{011D9EED-196A-4FF3-8C13-4D2CFADA9037}" destId="{4E1F6F5C-990D-4636-818A-2B7E246AEF2B}" srcOrd="1" destOrd="0" parTransId="{A11B8DFE-A396-4206-8E5D-6A5FEB1E5C27}" sibTransId="{F7023D09-9686-4FED-AF0F-D9C25881B06E}"/>
    <dgm:cxn modelId="{1C97BBF7-2DC2-4FE4-A861-9EFFF9DB3D14}" srcId="{4E1F6F5C-990D-4636-818A-2B7E246AEF2B}" destId="{C2A6DB1D-ABC5-4079-A4CC-D59A9024ED69}" srcOrd="1" destOrd="0" parTransId="{9CDA3FE1-ECD2-4153-AC9D-2E6158F9D635}" sibTransId="{60DD8059-E6CE-46C2-BCFF-A991BA6C7125}"/>
    <dgm:cxn modelId="{2BB1DF06-804C-476F-B1A8-E040090D5160}" type="presParOf" srcId="{D6E684A3-BEB5-429D-A121-371A07198118}" destId="{4917845C-C78B-41F1-AC07-FDB9FF46B599}" srcOrd="0" destOrd="0" presId="urn:microsoft.com/office/officeart/2005/8/layout/default"/>
    <dgm:cxn modelId="{6482A683-7190-4267-992C-6B31B87781C2}" type="presParOf" srcId="{D6E684A3-BEB5-429D-A121-371A07198118}" destId="{7BA2175C-AC33-4861-96DE-1E68E8FF5B27}" srcOrd="1" destOrd="0" presId="urn:microsoft.com/office/officeart/2005/8/layout/default"/>
    <dgm:cxn modelId="{D2BC1F81-C124-4908-888F-5DC782E2FBF1}" type="presParOf" srcId="{D6E684A3-BEB5-429D-A121-371A07198118}" destId="{A08F240C-466A-437E-84A2-43AA6255B7FA}"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D9EED-196A-4FF3-8C13-4D2CFADA9037}"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pt-PT"/>
        </a:p>
      </dgm:t>
    </dgm:pt>
    <dgm:pt modelId="{2576F7B2-3E53-4F61-A9E5-0A71EBFCCB12}">
      <dgm:prSet phldrT="[Text]" custT="1"/>
      <dgm:spPr>
        <a:noFill/>
        <a:ln>
          <a:solidFill>
            <a:schemeClr val="bg1">
              <a:lumMod val="95000"/>
            </a:schemeClr>
          </a:solidFill>
        </a:ln>
      </dgm:spPr>
      <dgm:t>
        <a:bodyPr/>
        <a:lstStyle/>
        <a:p>
          <a:pPr algn="l">
            <a:buNone/>
          </a:pPr>
          <a:r>
            <a:rPr lang="en-US" sz="2400" b="1" kern="1200">
              <a:solidFill>
                <a:schemeClr val="accent1">
                  <a:lumMod val="75000"/>
                </a:schemeClr>
              </a:solidFill>
              <a:latin typeface="Tenorite" panose="00000500000000000000" pitchFamily="2" charset="0"/>
            </a:rPr>
            <a:t>COMPENSATION PACKAGES</a:t>
          </a:r>
          <a:endParaRPr lang="pt-PT" sz="2400" b="1" kern="1200">
            <a:solidFill>
              <a:schemeClr val="accent1">
                <a:lumMod val="75000"/>
              </a:schemeClr>
            </a:solidFill>
            <a:latin typeface="Tenorite" panose="00000500000000000000" pitchFamily="2" charset="0"/>
          </a:endParaRPr>
        </a:p>
      </dgm:t>
    </dgm:pt>
    <dgm:pt modelId="{B1B2ABF2-B11E-4FDA-9E68-47088C604E29}" type="parTrans" cxnId="{85CD48F0-EA71-452F-95C5-F3DBF29EC2EF}">
      <dgm:prSet/>
      <dgm:spPr/>
      <dgm:t>
        <a:bodyPr/>
        <a:lstStyle/>
        <a:p>
          <a:endParaRPr lang="pt-PT">
            <a:solidFill>
              <a:schemeClr val="tx1"/>
            </a:solidFill>
            <a:latin typeface="Tenorite" panose="00000500000000000000" pitchFamily="2" charset="0"/>
          </a:endParaRPr>
        </a:p>
      </dgm:t>
    </dgm:pt>
    <dgm:pt modelId="{3C5F3964-3125-41D8-BF7B-B0844040C23D}" type="sibTrans" cxnId="{85CD48F0-EA71-452F-95C5-F3DBF29EC2EF}">
      <dgm:prSet/>
      <dgm:spPr/>
      <dgm:t>
        <a:bodyPr/>
        <a:lstStyle/>
        <a:p>
          <a:endParaRPr lang="pt-PT">
            <a:solidFill>
              <a:schemeClr val="tx1"/>
            </a:solidFill>
            <a:latin typeface="Tenorite" panose="00000500000000000000" pitchFamily="2" charset="0"/>
          </a:endParaRPr>
        </a:p>
      </dgm:t>
    </dgm:pt>
    <dgm:pt modelId="{DE4819C8-81C3-40B8-ADDB-DCD6093B734B}">
      <dgm:prSet phldrT="[Text]" custT="1"/>
      <dgm:spPr>
        <a:noFill/>
        <a:ln>
          <a:solidFill>
            <a:schemeClr val="bg1">
              <a:lumMod val="95000"/>
            </a:schemeClr>
          </a:solidFill>
        </a:ln>
      </dgm:spPr>
      <dgm:t>
        <a:bodyPr/>
        <a:lstStyle/>
        <a:p>
          <a:pPr algn="l">
            <a:buNone/>
          </a:pPr>
          <a:r>
            <a:rPr lang="pt-PT" sz="2400" b="1" kern="1200">
              <a:solidFill>
                <a:schemeClr val="accent1">
                  <a:lumMod val="75000"/>
                </a:schemeClr>
              </a:solidFill>
              <a:latin typeface="Tenorite" panose="00000500000000000000" pitchFamily="2" charset="0"/>
            </a:rPr>
            <a:t>BENEFITS</a:t>
          </a:r>
        </a:p>
      </dgm:t>
    </dgm:pt>
    <dgm:pt modelId="{1A325193-BFF9-4B93-A0EB-7EFE92BF41B9}" type="parTrans" cxnId="{2863892A-C005-490F-BDB5-06D06D5EF66C}">
      <dgm:prSet/>
      <dgm:spPr/>
      <dgm:t>
        <a:bodyPr/>
        <a:lstStyle/>
        <a:p>
          <a:endParaRPr lang="pt-PT">
            <a:solidFill>
              <a:schemeClr val="tx1"/>
            </a:solidFill>
            <a:latin typeface="Tenorite" panose="00000500000000000000" pitchFamily="2" charset="0"/>
          </a:endParaRPr>
        </a:p>
      </dgm:t>
    </dgm:pt>
    <dgm:pt modelId="{11689759-A338-485B-8088-B21F7CBC369D}" type="sibTrans" cxnId="{2863892A-C005-490F-BDB5-06D06D5EF66C}">
      <dgm:prSet/>
      <dgm:spPr/>
      <dgm:t>
        <a:bodyPr/>
        <a:lstStyle/>
        <a:p>
          <a:endParaRPr lang="pt-PT">
            <a:solidFill>
              <a:schemeClr val="tx1"/>
            </a:solidFill>
            <a:latin typeface="Tenorite" panose="00000500000000000000" pitchFamily="2" charset="0"/>
          </a:endParaRPr>
        </a:p>
      </dgm:t>
    </dgm:pt>
    <dgm:pt modelId="{5992542F-1C7A-4142-A85C-45ED96632E14}">
      <dgm:prSet phldrT="[Text]" custT="1"/>
      <dgm:spPr>
        <a:noFill/>
        <a:ln>
          <a:solidFill>
            <a:schemeClr val="bg1">
              <a:lumMod val="95000"/>
            </a:schemeClr>
          </a:solidFill>
        </a:ln>
      </dgm:spPr>
      <dgm:t>
        <a:bodyPr/>
        <a:lstStyle/>
        <a:p>
          <a:pPr algn="l"/>
          <a:r>
            <a:rPr lang="en-US" sz="2000" kern="1200">
              <a:solidFill>
                <a:schemeClr val="tx1"/>
              </a:solidFill>
              <a:latin typeface="Tenorite" panose="00000500000000000000" pitchFamily="2" charset="0"/>
            </a:rPr>
            <a:t>Provide </a:t>
          </a:r>
          <a:r>
            <a:rPr lang="en-US" sz="2000" kern="1200">
              <a:solidFill>
                <a:srgbClr val="000000"/>
              </a:solidFill>
              <a:latin typeface="Tenorite" panose="00000500000000000000" pitchFamily="2" charset="0"/>
              <a:ea typeface="+mn-ea"/>
              <a:cs typeface="+mn-cs"/>
            </a:rPr>
            <a:t>attractive compensation package </a:t>
          </a:r>
          <a:r>
            <a:rPr lang="en-US" sz="2000" kern="1200">
              <a:solidFill>
                <a:schemeClr val="tx1"/>
              </a:solidFill>
              <a:latin typeface="Tenorite" panose="00000500000000000000" pitchFamily="2" charset="0"/>
            </a:rPr>
            <a:t>that includes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competitive salaries</a:t>
          </a:r>
          <a:r>
            <a:rPr lang="en-US" sz="2000" b="0" kern="1200">
              <a:solidFill>
                <a:schemeClr val="tx1"/>
              </a:solidFill>
              <a:latin typeface="Tenorite" panose="00000500000000000000" pitchFamily="2" charset="0"/>
            </a:rPr>
            <a:t>,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performance-based bonuses</a:t>
          </a:r>
          <a:r>
            <a:rPr lang="en-US" sz="2000" b="0" kern="1200">
              <a:solidFill>
                <a:schemeClr val="tx1"/>
              </a:solidFill>
              <a:latin typeface="Tenorite" panose="00000500000000000000" pitchFamily="2" charset="0"/>
            </a:rPr>
            <a:t>, company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stock-options</a:t>
          </a:r>
          <a:r>
            <a:rPr lang="en-US" sz="2000" b="0" kern="1200">
              <a:solidFill>
                <a:schemeClr val="tx1"/>
              </a:solidFill>
              <a:latin typeface="Tenorite" panose="00000500000000000000" pitchFamily="2" charset="0"/>
            </a:rPr>
            <a:t>,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health insurance </a:t>
          </a:r>
          <a:r>
            <a:rPr lang="en-US" sz="2000" b="0" kern="1200">
              <a:solidFill>
                <a:schemeClr val="tx1"/>
              </a:solidFill>
              <a:latin typeface="Tenorite" panose="00000500000000000000" pitchFamily="2" charset="0"/>
            </a:rPr>
            <a:t>and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retirement plans</a:t>
          </a:r>
          <a:r>
            <a:rPr lang="en-US" sz="2000" b="0" kern="1200">
              <a:solidFill>
                <a:schemeClr val="tx1"/>
              </a:solidFill>
              <a:latin typeface="Tenorite" panose="00000500000000000000" pitchFamily="2" charset="0"/>
            </a:rPr>
            <a:t>.</a:t>
          </a:r>
          <a:endParaRPr lang="pt-PT" sz="2000" b="0" kern="1200">
            <a:solidFill>
              <a:schemeClr val="tx1"/>
            </a:solidFill>
            <a:latin typeface="Tenorite" panose="00000500000000000000" pitchFamily="2" charset="0"/>
          </a:endParaRPr>
        </a:p>
      </dgm:t>
    </dgm:pt>
    <dgm:pt modelId="{4C053D95-647E-4EC7-840C-3F1C26C5C15C}" type="parTrans" cxnId="{BF04452B-2C45-4D2F-8202-1F51846DD394}">
      <dgm:prSet/>
      <dgm:spPr/>
      <dgm:t>
        <a:bodyPr/>
        <a:lstStyle/>
        <a:p>
          <a:endParaRPr lang="pt-PT"/>
        </a:p>
      </dgm:t>
    </dgm:pt>
    <dgm:pt modelId="{DFDBFC54-5EC5-421E-8479-1EAFA6C7083A}" type="sibTrans" cxnId="{BF04452B-2C45-4D2F-8202-1F51846DD394}">
      <dgm:prSet/>
      <dgm:spPr/>
      <dgm:t>
        <a:bodyPr/>
        <a:lstStyle/>
        <a:p>
          <a:endParaRPr lang="pt-PT"/>
        </a:p>
      </dgm:t>
    </dgm:pt>
    <dgm:pt modelId="{CD24D0E7-A07C-410D-941B-DBF15BCD19CE}">
      <dgm:prSet phldrT="[Text]" custT="1"/>
      <dgm:spPr>
        <a:noFill/>
        <a:ln>
          <a:solidFill>
            <a:schemeClr val="bg1">
              <a:lumMod val="95000"/>
            </a:schemeClr>
          </a:solidFill>
        </a:ln>
      </dgm:spPr>
      <dgm:t>
        <a:bodyPr/>
        <a:lstStyle/>
        <a:p>
          <a:pPr algn="l"/>
          <a:r>
            <a:rPr lang="pt-PT" sz="2000" b="0" kern="1200">
              <a:solidFill>
                <a:schemeClr val="tx1"/>
              </a:solidFill>
              <a:latin typeface="Tenorite" panose="00000500000000000000" pitchFamily="2" charset="0"/>
            </a:rPr>
            <a:t>Offer corporate benefits such as </a:t>
          </a:r>
          <a:r>
            <a:rPr kumimoji="0" lang="en-US" sz="2000" b="0" i="0" u="none" strike="noStrike" kern="1200" cap="none" spc="50" normalizeH="0" baseline="0">
              <a:ln>
                <a:noFill/>
              </a:ln>
              <a:solidFill>
                <a:schemeClr val="accent1">
                  <a:lumMod val="75000"/>
                </a:schemeClr>
              </a:solidFill>
              <a:effectLst/>
              <a:uLnTx/>
              <a:uFillTx/>
              <a:latin typeface="Tenorite"/>
              <a:ea typeface="+mn-ea"/>
              <a:cs typeface="+mn-cs"/>
            </a:rPr>
            <a:t>company provided-lunches</a:t>
          </a:r>
          <a:r>
            <a:rPr lang="en-US" sz="2000" b="0" kern="1200">
              <a:solidFill>
                <a:schemeClr val="tx1"/>
              </a:solidFill>
              <a:latin typeface="Tenorite" panose="00000500000000000000" pitchFamily="2" charset="0"/>
            </a:rPr>
            <a:t>,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on-site parking</a:t>
          </a:r>
          <a:r>
            <a:rPr lang="en-US" sz="2000" b="0" kern="1200">
              <a:solidFill>
                <a:schemeClr val="tx1"/>
              </a:solidFill>
              <a:latin typeface="Tenorite" panose="00000500000000000000" pitchFamily="2" charset="0"/>
            </a:rPr>
            <a:t>, a free day on the employee’s </a:t>
          </a:r>
          <a:r>
            <a:rPr kumimoji="0" lang="pt-PT" sz="2000" b="0" i="0" u="none" strike="noStrike" kern="1200" cap="none" spc="50" normalizeH="0" baseline="0">
              <a:ln>
                <a:noFill/>
              </a:ln>
              <a:solidFill>
                <a:srgbClr val="3B9EB1">
                  <a:lumMod val="75000"/>
                </a:srgbClr>
              </a:solidFill>
              <a:effectLst/>
              <a:uLnTx/>
              <a:uFillTx/>
              <a:latin typeface="Tenorite"/>
              <a:ea typeface="+mn-ea"/>
              <a:cs typeface="+mn-cs"/>
            </a:rPr>
            <a:t>Birthday </a:t>
          </a:r>
          <a:r>
            <a:rPr lang="pt-PT" sz="2000" b="0" kern="1200">
              <a:solidFill>
                <a:schemeClr val="tx1"/>
              </a:solidFill>
              <a:latin typeface="Tenorite" panose="00000500000000000000" pitchFamily="2" charset="0"/>
            </a:rPr>
            <a:t>and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Flexible work </a:t>
          </a:r>
          <a:r>
            <a:rPr lang="pt-PT" sz="2000" b="0" kern="1200">
              <a:solidFill>
                <a:schemeClr val="tx1"/>
              </a:solidFill>
              <a:latin typeface="Tenorite" panose="00000500000000000000" pitchFamily="2" charset="0"/>
            </a:rPr>
            <a:t>schedules</a:t>
          </a:r>
          <a:r>
            <a:rPr lang="en-US" sz="2000" kern="1200">
              <a:solidFill>
                <a:schemeClr val="tx1"/>
              </a:solidFill>
              <a:latin typeface="Tenorite" panose="00000500000000000000" pitchFamily="2" charset="0"/>
            </a:rPr>
            <a:t>.</a:t>
          </a:r>
          <a:endParaRPr lang="pt-PT" sz="2000" kern="1200">
            <a:solidFill>
              <a:schemeClr val="tx1"/>
            </a:solidFill>
            <a:latin typeface="Tenorite" panose="00000500000000000000" pitchFamily="2" charset="0"/>
          </a:endParaRPr>
        </a:p>
      </dgm:t>
    </dgm:pt>
    <dgm:pt modelId="{E0E415C0-7A6D-4F73-A974-3C861FDA97A9}" type="parTrans" cxnId="{C0814C28-82DB-4353-AEDA-8607B234FA3C}">
      <dgm:prSet/>
      <dgm:spPr/>
      <dgm:t>
        <a:bodyPr/>
        <a:lstStyle/>
        <a:p>
          <a:endParaRPr lang="pt-PT"/>
        </a:p>
      </dgm:t>
    </dgm:pt>
    <dgm:pt modelId="{AC8B4A2B-EECC-4E93-B22E-1B76779DDB7F}" type="sibTrans" cxnId="{C0814C28-82DB-4353-AEDA-8607B234FA3C}">
      <dgm:prSet/>
      <dgm:spPr/>
      <dgm:t>
        <a:bodyPr/>
        <a:lstStyle/>
        <a:p>
          <a:endParaRPr lang="pt-PT"/>
        </a:p>
      </dgm:t>
    </dgm:pt>
    <dgm:pt modelId="{D6E684A3-BEB5-429D-A121-371A07198118}" type="pres">
      <dgm:prSet presAssocID="{011D9EED-196A-4FF3-8C13-4D2CFADA9037}" presName="diagram" presStyleCnt="0">
        <dgm:presLayoutVars>
          <dgm:dir/>
          <dgm:resizeHandles val="exact"/>
        </dgm:presLayoutVars>
      </dgm:prSet>
      <dgm:spPr/>
    </dgm:pt>
    <dgm:pt modelId="{4917845C-C78B-41F1-AC07-FDB9FF46B599}" type="pres">
      <dgm:prSet presAssocID="{2576F7B2-3E53-4F61-A9E5-0A71EBFCCB12}" presName="node" presStyleLbl="node1" presStyleIdx="0" presStyleCnt="2">
        <dgm:presLayoutVars>
          <dgm:bulletEnabled val="1"/>
        </dgm:presLayoutVars>
      </dgm:prSet>
      <dgm:spPr/>
    </dgm:pt>
    <dgm:pt modelId="{7BA2175C-AC33-4861-96DE-1E68E8FF5B27}" type="pres">
      <dgm:prSet presAssocID="{3C5F3964-3125-41D8-BF7B-B0844040C23D}" presName="sibTrans" presStyleCnt="0"/>
      <dgm:spPr/>
    </dgm:pt>
    <dgm:pt modelId="{B553274C-80A7-44FE-9369-C2DC42763B79}" type="pres">
      <dgm:prSet presAssocID="{DE4819C8-81C3-40B8-ADDB-DCD6093B734B}" presName="node" presStyleLbl="node1" presStyleIdx="1" presStyleCnt="2">
        <dgm:presLayoutVars>
          <dgm:bulletEnabled val="1"/>
        </dgm:presLayoutVars>
      </dgm:prSet>
      <dgm:spPr/>
    </dgm:pt>
  </dgm:ptLst>
  <dgm:cxnLst>
    <dgm:cxn modelId="{5E147718-9BEA-40A0-834C-048DDB28926D}" type="presOf" srcId="{011D9EED-196A-4FF3-8C13-4D2CFADA9037}" destId="{D6E684A3-BEB5-429D-A121-371A07198118}" srcOrd="0" destOrd="0" presId="urn:microsoft.com/office/officeart/2005/8/layout/default"/>
    <dgm:cxn modelId="{C0814C28-82DB-4353-AEDA-8607B234FA3C}" srcId="{DE4819C8-81C3-40B8-ADDB-DCD6093B734B}" destId="{CD24D0E7-A07C-410D-941B-DBF15BCD19CE}" srcOrd="0" destOrd="0" parTransId="{E0E415C0-7A6D-4F73-A974-3C861FDA97A9}" sibTransId="{AC8B4A2B-EECC-4E93-B22E-1B76779DDB7F}"/>
    <dgm:cxn modelId="{2863892A-C005-490F-BDB5-06D06D5EF66C}" srcId="{011D9EED-196A-4FF3-8C13-4D2CFADA9037}" destId="{DE4819C8-81C3-40B8-ADDB-DCD6093B734B}" srcOrd="1" destOrd="0" parTransId="{1A325193-BFF9-4B93-A0EB-7EFE92BF41B9}" sibTransId="{11689759-A338-485B-8088-B21F7CBC369D}"/>
    <dgm:cxn modelId="{BF04452B-2C45-4D2F-8202-1F51846DD394}" srcId="{2576F7B2-3E53-4F61-A9E5-0A71EBFCCB12}" destId="{5992542F-1C7A-4142-A85C-45ED96632E14}" srcOrd="0" destOrd="0" parTransId="{4C053D95-647E-4EC7-840C-3F1C26C5C15C}" sibTransId="{DFDBFC54-5EC5-421E-8479-1EAFA6C7083A}"/>
    <dgm:cxn modelId="{474C1F35-A5CE-4193-B11C-F2A23E5E6691}" type="presOf" srcId="{2576F7B2-3E53-4F61-A9E5-0A71EBFCCB12}" destId="{4917845C-C78B-41F1-AC07-FDB9FF46B599}" srcOrd="0" destOrd="0" presId="urn:microsoft.com/office/officeart/2005/8/layout/default"/>
    <dgm:cxn modelId="{BDB6A537-1798-4091-AEE1-A3C31D76FC64}" type="presOf" srcId="{5992542F-1C7A-4142-A85C-45ED96632E14}" destId="{4917845C-C78B-41F1-AC07-FDB9FF46B599}" srcOrd="0" destOrd="1" presId="urn:microsoft.com/office/officeart/2005/8/layout/default"/>
    <dgm:cxn modelId="{2085C342-2B52-4989-88CE-7A4919105C1B}" type="presOf" srcId="{CD24D0E7-A07C-410D-941B-DBF15BCD19CE}" destId="{B553274C-80A7-44FE-9369-C2DC42763B79}" srcOrd="0" destOrd="1" presId="urn:microsoft.com/office/officeart/2005/8/layout/default"/>
    <dgm:cxn modelId="{41D17DC2-DCB8-4915-9D29-C76BD663AF0B}" type="presOf" srcId="{DE4819C8-81C3-40B8-ADDB-DCD6093B734B}" destId="{B553274C-80A7-44FE-9369-C2DC42763B79}" srcOrd="0" destOrd="0" presId="urn:microsoft.com/office/officeart/2005/8/layout/default"/>
    <dgm:cxn modelId="{85CD48F0-EA71-452F-95C5-F3DBF29EC2EF}" srcId="{011D9EED-196A-4FF3-8C13-4D2CFADA9037}" destId="{2576F7B2-3E53-4F61-A9E5-0A71EBFCCB12}" srcOrd="0" destOrd="0" parTransId="{B1B2ABF2-B11E-4FDA-9E68-47088C604E29}" sibTransId="{3C5F3964-3125-41D8-BF7B-B0844040C23D}"/>
    <dgm:cxn modelId="{2BB1DF06-804C-476F-B1A8-E040090D5160}" type="presParOf" srcId="{D6E684A3-BEB5-429D-A121-371A07198118}" destId="{4917845C-C78B-41F1-AC07-FDB9FF46B599}" srcOrd="0" destOrd="0" presId="urn:microsoft.com/office/officeart/2005/8/layout/default"/>
    <dgm:cxn modelId="{6482A683-7190-4267-992C-6B31B87781C2}" type="presParOf" srcId="{D6E684A3-BEB5-429D-A121-371A07198118}" destId="{7BA2175C-AC33-4861-96DE-1E68E8FF5B27}" srcOrd="1" destOrd="0" presId="urn:microsoft.com/office/officeart/2005/8/layout/default"/>
    <dgm:cxn modelId="{D11B5A98-36B8-4970-A750-E0501AE59F08}" type="presParOf" srcId="{D6E684A3-BEB5-429D-A121-371A07198118}" destId="{B553274C-80A7-44FE-9369-C2DC42763B79}"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D9EED-196A-4FF3-8C13-4D2CFADA9037}"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pt-PT"/>
        </a:p>
      </dgm:t>
    </dgm:pt>
    <dgm:pt modelId="{FA2BDF23-10E6-4546-8266-18B4A2F8E3BA}">
      <dgm:prSet phldrT="[Text]" custT="1"/>
      <dgm:spPr>
        <a:noFill/>
        <a:ln>
          <a:solidFill>
            <a:schemeClr val="bg1">
              <a:lumMod val="95000"/>
            </a:schemeClr>
          </a:solidFill>
        </a:ln>
      </dgm:spPr>
      <dgm:t>
        <a:bodyPr/>
        <a:lstStyle/>
        <a:p>
          <a:pPr algn="l">
            <a:buNone/>
          </a:pPr>
          <a:r>
            <a:rPr lang="en-US" sz="2400" b="1" kern="1200">
              <a:solidFill>
                <a:srgbClr val="3B9EB1">
                  <a:lumMod val="75000"/>
                </a:srgbClr>
              </a:solidFill>
              <a:latin typeface="Tenorite" panose="00000500000000000000" pitchFamily="2" charset="0"/>
              <a:ea typeface="+mn-ea"/>
              <a:cs typeface="+mn-cs"/>
            </a:rPr>
            <a:t>WORK-LIFE BALANCE</a:t>
          </a:r>
          <a:endParaRPr lang="pt-PT" sz="2400" b="1" kern="1200">
            <a:solidFill>
              <a:srgbClr val="3B9EB1">
                <a:lumMod val="75000"/>
              </a:srgbClr>
            </a:solidFill>
            <a:latin typeface="Tenorite" panose="00000500000000000000" pitchFamily="2" charset="0"/>
            <a:ea typeface="+mn-ea"/>
            <a:cs typeface="+mn-cs"/>
          </a:endParaRPr>
        </a:p>
      </dgm:t>
    </dgm:pt>
    <dgm:pt modelId="{D7624BB5-FA0A-430F-8CEA-BBE86BB8E9D1}" type="parTrans" cxnId="{38A18CA4-117F-41E6-95F4-BD273F612C68}">
      <dgm:prSet/>
      <dgm:spPr/>
      <dgm:t>
        <a:bodyPr/>
        <a:lstStyle/>
        <a:p>
          <a:endParaRPr lang="pt-PT">
            <a:solidFill>
              <a:schemeClr val="tx1"/>
            </a:solidFill>
            <a:latin typeface="Tenorite" panose="00000500000000000000" pitchFamily="2" charset="0"/>
          </a:endParaRPr>
        </a:p>
      </dgm:t>
    </dgm:pt>
    <dgm:pt modelId="{65F384DD-B041-4E0E-91A6-DDC03E848D99}" type="sibTrans" cxnId="{38A18CA4-117F-41E6-95F4-BD273F612C68}">
      <dgm:prSet/>
      <dgm:spPr/>
      <dgm:t>
        <a:bodyPr/>
        <a:lstStyle/>
        <a:p>
          <a:endParaRPr lang="pt-PT">
            <a:solidFill>
              <a:schemeClr val="tx1"/>
            </a:solidFill>
            <a:latin typeface="Tenorite" panose="00000500000000000000" pitchFamily="2" charset="0"/>
          </a:endParaRPr>
        </a:p>
      </dgm:t>
    </dgm:pt>
    <dgm:pt modelId="{223C1918-C49B-4FD0-B844-E3E76F7C5E5A}">
      <dgm:prSet phldrT="[Text]" custT="1"/>
      <dgm:spPr>
        <a:noFill/>
        <a:ln>
          <a:solidFill>
            <a:schemeClr val="bg1">
              <a:lumMod val="95000"/>
            </a:schemeClr>
          </a:solidFill>
        </a:ln>
      </dgm:spPr>
      <dgm:t>
        <a:bodyPr/>
        <a:lstStyle/>
        <a:p>
          <a:pPr algn="l" rtl="0">
            <a:buFont typeface="Arial" panose="020B0604020202020204" pitchFamily="34" charset="0"/>
            <a:buChar char="•"/>
          </a:pP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Working from home</a:t>
          </a:r>
          <a:r>
            <a:rPr lang="en-US" sz="2000" b="0" kern="1200">
              <a:solidFill>
                <a:schemeClr val="tx1"/>
              </a:solidFill>
              <a:latin typeface="Tenorite" panose="00000500000000000000" pitchFamily="2" charset="0"/>
            </a:rPr>
            <a:t>, decreasing travel time to the office.</a:t>
          </a:r>
          <a:endParaRPr lang="pt-PT" sz="2000" b="0" kern="1200">
            <a:solidFill>
              <a:schemeClr val="tx1"/>
            </a:solidFill>
            <a:latin typeface="Tenorite" panose="00000500000000000000" pitchFamily="2" charset="0"/>
          </a:endParaRPr>
        </a:p>
      </dgm:t>
    </dgm:pt>
    <dgm:pt modelId="{BC85772E-696C-4412-8289-63F6703D51DE}" type="parTrans" cxnId="{D938F71B-A9AA-4132-AF1A-47B215CBE08D}">
      <dgm:prSet/>
      <dgm:spPr/>
      <dgm:t>
        <a:bodyPr/>
        <a:lstStyle/>
        <a:p>
          <a:endParaRPr lang="pt-PT">
            <a:solidFill>
              <a:schemeClr val="tx1"/>
            </a:solidFill>
            <a:latin typeface="Tenorite" panose="00000500000000000000" pitchFamily="2" charset="0"/>
          </a:endParaRPr>
        </a:p>
      </dgm:t>
    </dgm:pt>
    <dgm:pt modelId="{AEA786FE-2C78-441B-A1F7-D24A40653AE6}" type="sibTrans" cxnId="{D938F71B-A9AA-4132-AF1A-47B215CBE08D}">
      <dgm:prSet/>
      <dgm:spPr/>
      <dgm:t>
        <a:bodyPr/>
        <a:lstStyle/>
        <a:p>
          <a:endParaRPr lang="pt-PT">
            <a:solidFill>
              <a:schemeClr val="tx1"/>
            </a:solidFill>
            <a:latin typeface="Tenorite" panose="00000500000000000000" pitchFamily="2" charset="0"/>
          </a:endParaRPr>
        </a:p>
      </dgm:t>
    </dgm:pt>
    <dgm:pt modelId="{D0DEA5B1-EE52-4232-89E0-EDCB11AD5C00}">
      <dgm:prSet phldrT="[Text]" custT="1"/>
      <dgm:spPr>
        <a:noFill/>
        <a:ln>
          <a:solidFill>
            <a:schemeClr val="bg1">
              <a:lumMod val="95000"/>
            </a:schemeClr>
          </a:solidFill>
        </a:ln>
      </dgm:spPr>
      <dgm:t>
        <a:bodyPr/>
        <a:lstStyle/>
        <a:p>
          <a:pPr algn="l"/>
          <a:r>
            <a:rPr lang="pt-PT" sz="2400" b="1" kern="1200">
              <a:solidFill>
                <a:srgbClr val="3B9EB1">
                  <a:lumMod val="75000"/>
                </a:srgbClr>
              </a:solidFill>
              <a:latin typeface="Tenorite" panose="00000500000000000000" pitchFamily="2" charset="0"/>
              <a:ea typeface="+mn-ea"/>
              <a:cs typeface="+mn-cs"/>
            </a:rPr>
            <a:t>POSITIVE WORK ENVIRONMENT</a:t>
          </a:r>
        </a:p>
      </dgm:t>
    </dgm:pt>
    <dgm:pt modelId="{252E901E-E79E-4EAC-AF59-370D95DF4798}" type="parTrans" cxnId="{B69E8B86-AB07-4363-848D-6D8AF0B2D399}">
      <dgm:prSet/>
      <dgm:spPr/>
      <dgm:t>
        <a:bodyPr/>
        <a:lstStyle/>
        <a:p>
          <a:endParaRPr lang="pt-PT">
            <a:solidFill>
              <a:schemeClr val="tx1"/>
            </a:solidFill>
            <a:latin typeface="Tenorite" panose="00000500000000000000" pitchFamily="2" charset="0"/>
          </a:endParaRPr>
        </a:p>
      </dgm:t>
    </dgm:pt>
    <dgm:pt modelId="{26455ED3-D71D-45F9-9781-85F27ED8D87F}" type="sibTrans" cxnId="{B69E8B86-AB07-4363-848D-6D8AF0B2D399}">
      <dgm:prSet/>
      <dgm:spPr/>
      <dgm:t>
        <a:bodyPr/>
        <a:lstStyle/>
        <a:p>
          <a:endParaRPr lang="pt-PT">
            <a:solidFill>
              <a:schemeClr val="tx1"/>
            </a:solidFill>
            <a:latin typeface="Tenorite" panose="00000500000000000000" pitchFamily="2" charset="0"/>
          </a:endParaRPr>
        </a:p>
      </dgm:t>
    </dgm:pt>
    <dgm:pt modelId="{61A940A7-7DF1-457A-9386-8D1E3B005D78}">
      <dgm:prSet phldrT="[Text]" custT="1"/>
      <dgm:spPr>
        <a:noFill/>
        <a:ln>
          <a:solidFill>
            <a:schemeClr val="bg1">
              <a:lumMod val="95000"/>
            </a:schemeClr>
          </a:solidFill>
        </a:ln>
      </dgm:spPr>
      <dgm:t>
        <a:bodyPr/>
        <a:lstStyle/>
        <a:p>
          <a:pPr algn="l">
            <a:buFont typeface="Arial" panose="020B0604020202020204" pitchFamily="34" charset="0"/>
            <a:buChar char="•"/>
          </a:pPr>
          <a:r>
            <a:rPr lang="en-US" sz="2000" b="0" kern="1200">
              <a:solidFill>
                <a:schemeClr val="tx1"/>
              </a:solidFill>
              <a:latin typeface="Tenorite" panose="00000500000000000000" pitchFamily="2" charset="0"/>
            </a:rPr>
            <a:t>Build a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positive workplace culture</a:t>
          </a:r>
          <a:r>
            <a:rPr lang="en-US" sz="2000" b="0" kern="1200">
              <a:solidFill>
                <a:schemeClr val="tx1"/>
              </a:solidFill>
              <a:latin typeface="Tenorite" panose="00000500000000000000" pitchFamily="2" charset="0"/>
            </a:rPr>
            <a:t>, which values flexibility, supports personal responsibilities and encourages a good work-life balance. </a:t>
          </a:r>
          <a:endParaRPr lang="pt-PT" sz="2000" b="0" kern="1200">
            <a:solidFill>
              <a:schemeClr val="tx1"/>
            </a:solidFill>
            <a:latin typeface="Tenorite" panose="00000500000000000000" pitchFamily="2" charset="0"/>
          </a:endParaRPr>
        </a:p>
      </dgm:t>
    </dgm:pt>
    <dgm:pt modelId="{112EA3D0-BC28-489C-84CA-D4193DA58E89}" type="parTrans" cxnId="{80EC1753-91E7-4990-AD9B-1A8AA3E91A04}">
      <dgm:prSet/>
      <dgm:spPr/>
      <dgm:t>
        <a:bodyPr/>
        <a:lstStyle/>
        <a:p>
          <a:endParaRPr lang="pt-PT">
            <a:solidFill>
              <a:schemeClr val="tx1"/>
            </a:solidFill>
            <a:latin typeface="Tenorite" panose="00000500000000000000" pitchFamily="2" charset="0"/>
          </a:endParaRPr>
        </a:p>
      </dgm:t>
    </dgm:pt>
    <dgm:pt modelId="{48923AA1-CA89-4F24-BF16-C2BF72F27A4B}" type="sibTrans" cxnId="{80EC1753-91E7-4990-AD9B-1A8AA3E91A04}">
      <dgm:prSet/>
      <dgm:spPr/>
      <dgm:t>
        <a:bodyPr/>
        <a:lstStyle/>
        <a:p>
          <a:endParaRPr lang="pt-PT">
            <a:solidFill>
              <a:schemeClr val="tx1"/>
            </a:solidFill>
            <a:latin typeface="Tenorite" panose="00000500000000000000" pitchFamily="2" charset="0"/>
          </a:endParaRPr>
        </a:p>
      </dgm:t>
    </dgm:pt>
    <dgm:pt modelId="{4993D9A1-ADA3-4709-93BC-5417613E774C}">
      <dgm:prSet phldrT="[Text]" custT="1"/>
      <dgm:spPr>
        <a:noFill/>
        <a:ln>
          <a:solidFill>
            <a:schemeClr val="bg1">
              <a:lumMod val="95000"/>
            </a:schemeClr>
          </a:solidFill>
        </a:ln>
      </dgm:spPr>
      <dgm:t>
        <a:bodyPr/>
        <a:lstStyle/>
        <a:p>
          <a:pPr algn="l">
            <a:buFont typeface="Arial" panose="020B0604020202020204" pitchFamily="34" charset="0"/>
            <a:buChar char="•"/>
          </a:pPr>
          <a:r>
            <a:rPr lang="en-US" sz="2000" b="0" kern="1200">
              <a:solidFill>
                <a:schemeClr val="tx1"/>
              </a:solidFill>
              <a:latin typeface="Tenorite" panose="00000500000000000000" pitchFamily="2" charset="0"/>
            </a:rPr>
            <a:t>Foster open communication, collaboration and respect among employees.</a:t>
          </a:r>
          <a:endParaRPr lang="pt-PT" sz="2000" b="0" kern="1200">
            <a:solidFill>
              <a:schemeClr val="tx1"/>
            </a:solidFill>
            <a:latin typeface="Tenorite" panose="00000500000000000000" pitchFamily="2" charset="0"/>
          </a:endParaRPr>
        </a:p>
      </dgm:t>
    </dgm:pt>
    <dgm:pt modelId="{7853947D-4F56-405E-9A53-26DCFE9AFE57}" type="parTrans" cxnId="{C8DA2B29-E74E-48A8-B917-BF6A09585F2B}">
      <dgm:prSet/>
      <dgm:spPr/>
      <dgm:t>
        <a:bodyPr/>
        <a:lstStyle/>
        <a:p>
          <a:endParaRPr lang="pt-PT">
            <a:solidFill>
              <a:schemeClr val="tx1"/>
            </a:solidFill>
            <a:latin typeface="Tenorite" panose="00000500000000000000" pitchFamily="2" charset="0"/>
          </a:endParaRPr>
        </a:p>
      </dgm:t>
    </dgm:pt>
    <dgm:pt modelId="{17497FB6-8498-4B17-B0EE-DAC3C9C17D3A}" type="sibTrans" cxnId="{C8DA2B29-E74E-48A8-B917-BF6A09585F2B}">
      <dgm:prSet/>
      <dgm:spPr/>
      <dgm:t>
        <a:bodyPr/>
        <a:lstStyle/>
        <a:p>
          <a:endParaRPr lang="pt-PT">
            <a:solidFill>
              <a:schemeClr val="tx1"/>
            </a:solidFill>
            <a:latin typeface="Tenorite" panose="00000500000000000000" pitchFamily="2" charset="0"/>
          </a:endParaRPr>
        </a:p>
      </dgm:t>
    </dgm:pt>
    <dgm:pt modelId="{A5EC797F-DDE2-4A2D-894C-C7ED03A9C4E9}">
      <dgm:prSet phldrT="[Text]" custT="1"/>
      <dgm:spPr>
        <a:noFill/>
        <a:ln>
          <a:solidFill>
            <a:schemeClr val="bg1">
              <a:lumMod val="95000"/>
            </a:schemeClr>
          </a:solidFill>
        </a:ln>
      </dgm:spPr>
      <dgm:t>
        <a:bodyPr/>
        <a:lstStyle/>
        <a:p>
          <a:pPr algn="l" rtl="0">
            <a:buFont typeface="Arial" panose="020B0604020202020204" pitchFamily="34" charset="0"/>
            <a:buChar char="•"/>
          </a:pP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Flexi-time</a:t>
          </a:r>
          <a:r>
            <a:rPr lang="en-US" sz="2000" b="0" kern="1200">
              <a:solidFill>
                <a:schemeClr val="tx1"/>
              </a:solidFill>
              <a:latin typeface="Tenorite" panose="00000500000000000000" pitchFamily="2" charset="0"/>
            </a:rPr>
            <a:t>, allowing the employee to balance their personal and professional life.</a:t>
          </a:r>
          <a:endParaRPr lang="pt-PT" sz="2000" b="0" kern="1200">
            <a:solidFill>
              <a:schemeClr val="tx1"/>
            </a:solidFill>
            <a:latin typeface="Tenorite" panose="00000500000000000000" pitchFamily="2" charset="0"/>
          </a:endParaRPr>
        </a:p>
      </dgm:t>
    </dgm:pt>
    <dgm:pt modelId="{248B1C72-EF8F-4C5F-A2F2-4ACA8CFF9720}" type="parTrans" cxnId="{498C5856-F5CF-49BD-BAED-C79CED022BFF}">
      <dgm:prSet/>
      <dgm:spPr/>
      <dgm:t>
        <a:bodyPr/>
        <a:lstStyle/>
        <a:p>
          <a:endParaRPr lang="pt-PT">
            <a:latin typeface="Tenorite" panose="00000500000000000000" pitchFamily="2" charset="0"/>
          </a:endParaRPr>
        </a:p>
      </dgm:t>
    </dgm:pt>
    <dgm:pt modelId="{776240E0-DA40-424B-95A8-32D5EF03189F}" type="sibTrans" cxnId="{498C5856-F5CF-49BD-BAED-C79CED022BFF}">
      <dgm:prSet/>
      <dgm:spPr/>
      <dgm:t>
        <a:bodyPr/>
        <a:lstStyle/>
        <a:p>
          <a:endParaRPr lang="pt-PT">
            <a:latin typeface="Tenorite" panose="00000500000000000000" pitchFamily="2" charset="0"/>
          </a:endParaRPr>
        </a:p>
      </dgm:t>
    </dgm:pt>
    <dgm:pt modelId="{6016F3FD-F61C-4331-AA5B-E30A99BF87B1}">
      <dgm:prSet phldrT="[Text]" custT="1"/>
      <dgm:spPr>
        <a:noFill/>
        <a:ln>
          <a:solidFill>
            <a:schemeClr val="bg1">
              <a:lumMod val="95000"/>
            </a:schemeClr>
          </a:solidFill>
        </a:ln>
      </dgm:spPr>
      <dgm:t>
        <a:bodyPr/>
        <a:lstStyle/>
        <a:p>
          <a:pPr algn="l"/>
          <a:r>
            <a:rPr lang="en-US" sz="2000" b="0" kern="1200">
              <a:solidFill>
                <a:schemeClr val="tx1"/>
              </a:solidFill>
              <a:latin typeface="Tenorite" panose="00000500000000000000" pitchFamily="2" charset="0"/>
            </a:rPr>
            <a:t>Provide resources to help the employee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manage stress</a:t>
          </a:r>
          <a:r>
            <a:rPr lang="en-US" sz="2000" b="0" kern="1200">
              <a:solidFill>
                <a:schemeClr val="tx1"/>
              </a:solidFill>
              <a:latin typeface="Tenorite" panose="00000500000000000000" pitchFamily="2" charset="0"/>
            </a:rPr>
            <a:t> and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maintain their wellbeing</a:t>
          </a:r>
          <a:r>
            <a:rPr lang="en-US" sz="1800" b="0" kern="1200">
              <a:solidFill>
                <a:schemeClr val="tx1"/>
              </a:solidFill>
              <a:latin typeface="Tenorite" panose="00000500000000000000" pitchFamily="2" charset="0"/>
            </a:rPr>
            <a:t>.</a:t>
          </a:r>
          <a:endParaRPr lang="pt-PT" sz="1800" b="0" kern="1200">
            <a:solidFill>
              <a:schemeClr val="tx1"/>
            </a:solidFill>
            <a:latin typeface="Tenorite" panose="00000500000000000000" pitchFamily="2" charset="0"/>
          </a:endParaRPr>
        </a:p>
      </dgm:t>
    </dgm:pt>
    <dgm:pt modelId="{824D475E-F431-417B-900E-636A0C536278}" type="parTrans" cxnId="{97BEB98D-7EDF-41CB-9642-7F329261DDA5}">
      <dgm:prSet/>
      <dgm:spPr/>
      <dgm:t>
        <a:bodyPr/>
        <a:lstStyle/>
        <a:p>
          <a:endParaRPr lang="pt-PT"/>
        </a:p>
      </dgm:t>
    </dgm:pt>
    <dgm:pt modelId="{C7BFB02D-E3A0-49DC-98B3-07AF638D65BD}" type="sibTrans" cxnId="{97BEB98D-7EDF-41CB-9642-7F329261DDA5}">
      <dgm:prSet/>
      <dgm:spPr/>
      <dgm:t>
        <a:bodyPr/>
        <a:lstStyle/>
        <a:p>
          <a:endParaRPr lang="pt-PT"/>
        </a:p>
      </dgm:t>
    </dgm:pt>
    <dgm:pt modelId="{D6E684A3-BEB5-429D-A121-371A07198118}" type="pres">
      <dgm:prSet presAssocID="{011D9EED-196A-4FF3-8C13-4D2CFADA9037}" presName="diagram" presStyleCnt="0">
        <dgm:presLayoutVars>
          <dgm:dir/>
          <dgm:resizeHandles val="exact"/>
        </dgm:presLayoutVars>
      </dgm:prSet>
      <dgm:spPr/>
    </dgm:pt>
    <dgm:pt modelId="{C3E9CF9D-9D26-42A9-8D2A-EA512D4BD7EA}" type="pres">
      <dgm:prSet presAssocID="{FA2BDF23-10E6-4546-8266-18B4A2F8E3BA}" presName="node" presStyleLbl="node1" presStyleIdx="0" presStyleCnt="2" custScaleY="116009">
        <dgm:presLayoutVars>
          <dgm:bulletEnabled val="1"/>
        </dgm:presLayoutVars>
      </dgm:prSet>
      <dgm:spPr/>
    </dgm:pt>
    <dgm:pt modelId="{2BF2E49F-CE3A-41FC-831A-AA375AFF2392}" type="pres">
      <dgm:prSet presAssocID="{65F384DD-B041-4E0E-91A6-DDC03E848D99}" presName="sibTrans" presStyleCnt="0"/>
      <dgm:spPr/>
    </dgm:pt>
    <dgm:pt modelId="{23E94732-F878-4531-AADE-3686FE502949}" type="pres">
      <dgm:prSet presAssocID="{D0DEA5B1-EE52-4232-89E0-EDCB11AD5C00}" presName="node" presStyleLbl="node1" presStyleIdx="1" presStyleCnt="2" custScaleY="115523">
        <dgm:presLayoutVars>
          <dgm:bulletEnabled val="1"/>
        </dgm:presLayoutVars>
      </dgm:prSet>
      <dgm:spPr/>
    </dgm:pt>
  </dgm:ptLst>
  <dgm:cxnLst>
    <dgm:cxn modelId="{5E147718-9BEA-40A0-834C-048DDB28926D}" type="presOf" srcId="{011D9EED-196A-4FF3-8C13-4D2CFADA9037}" destId="{D6E684A3-BEB5-429D-A121-371A07198118}" srcOrd="0" destOrd="0" presId="urn:microsoft.com/office/officeart/2005/8/layout/default"/>
    <dgm:cxn modelId="{D938F71B-A9AA-4132-AF1A-47B215CBE08D}" srcId="{FA2BDF23-10E6-4546-8266-18B4A2F8E3BA}" destId="{223C1918-C49B-4FD0-B844-E3E76F7C5E5A}" srcOrd="0" destOrd="0" parTransId="{BC85772E-696C-4412-8289-63F6703D51DE}" sibTransId="{AEA786FE-2C78-441B-A1F7-D24A40653AE6}"/>
    <dgm:cxn modelId="{C8DA2B29-E74E-48A8-B917-BF6A09585F2B}" srcId="{D0DEA5B1-EE52-4232-89E0-EDCB11AD5C00}" destId="{4993D9A1-ADA3-4709-93BC-5417613E774C}" srcOrd="1" destOrd="0" parTransId="{7853947D-4F56-405E-9A53-26DCFE9AFE57}" sibTransId="{17497FB6-8498-4B17-B0EE-DAC3C9C17D3A}"/>
    <dgm:cxn modelId="{52AC9E2E-5F3D-44A8-AF5F-B019BBA9943A}" type="presOf" srcId="{223C1918-C49B-4FD0-B844-E3E76F7C5E5A}" destId="{C3E9CF9D-9D26-42A9-8D2A-EA512D4BD7EA}" srcOrd="0" destOrd="1" presId="urn:microsoft.com/office/officeart/2005/8/layout/default"/>
    <dgm:cxn modelId="{C1287136-5305-4D66-9930-8669E17A1D43}" type="presOf" srcId="{D0DEA5B1-EE52-4232-89E0-EDCB11AD5C00}" destId="{23E94732-F878-4531-AADE-3686FE502949}" srcOrd="0" destOrd="0" presId="urn:microsoft.com/office/officeart/2005/8/layout/default"/>
    <dgm:cxn modelId="{A7A55F71-F6D1-4BC0-88BA-FB782753BDF7}" type="presOf" srcId="{61A940A7-7DF1-457A-9386-8D1E3B005D78}" destId="{23E94732-F878-4531-AADE-3686FE502949}" srcOrd="0" destOrd="1" presId="urn:microsoft.com/office/officeart/2005/8/layout/default"/>
    <dgm:cxn modelId="{80EC1753-91E7-4990-AD9B-1A8AA3E91A04}" srcId="{D0DEA5B1-EE52-4232-89E0-EDCB11AD5C00}" destId="{61A940A7-7DF1-457A-9386-8D1E3B005D78}" srcOrd="0" destOrd="0" parTransId="{112EA3D0-BC28-489C-84CA-D4193DA58E89}" sibTransId="{48923AA1-CA89-4F24-BF16-C2BF72F27A4B}"/>
    <dgm:cxn modelId="{498C5856-F5CF-49BD-BAED-C79CED022BFF}" srcId="{FA2BDF23-10E6-4546-8266-18B4A2F8E3BA}" destId="{A5EC797F-DDE2-4A2D-894C-C7ED03A9C4E9}" srcOrd="1" destOrd="0" parTransId="{248B1C72-EF8F-4C5F-A2F2-4ACA8CFF9720}" sibTransId="{776240E0-DA40-424B-95A8-32D5EF03189F}"/>
    <dgm:cxn modelId="{930C7B5A-0712-44D1-8A90-E84CC081C374}" type="presOf" srcId="{6016F3FD-F61C-4331-AA5B-E30A99BF87B1}" destId="{C3E9CF9D-9D26-42A9-8D2A-EA512D4BD7EA}" srcOrd="0" destOrd="3" presId="urn:microsoft.com/office/officeart/2005/8/layout/default"/>
    <dgm:cxn modelId="{202E2C81-D75C-4CEC-A32F-E7A4D93CB640}" type="presOf" srcId="{A5EC797F-DDE2-4A2D-894C-C7ED03A9C4E9}" destId="{C3E9CF9D-9D26-42A9-8D2A-EA512D4BD7EA}" srcOrd="0" destOrd="2" presId="urn:microsoft.com/office/officeart/2005/8/layout/default"/>
    <dgm:cxn modelId="{B69E8B86-AB07-4363-848D-6D8AF0B2D399}" srcId="{011D9EED-196A-4FF3-8C13-4D2CFADA9037}" destId="{D0DEA5B1-EE52-4232-89E0-EDCB11AD5C00}" srcOrd="1" destOrd="0" parTransId="{252E901E-E79E-4EAC-AF59-370D95DF4798}" sibTransId="{26455ED3-D71D-45F9-9781-85F27ED8D87F}"/>
    <dgm:cxn modelId="{97BEB98D-7EDF-41CB-9642-7F329261DDA5}" srcId="{FA2BDF23-10E6-4546-8266-18B4A2F8E3BA}" destId="{6016F3FD-F61C-4331-AA5B-E30A99BF87B1}" srcOrd="2" destOrd="0" parTransId="{824D475E-F431-417B-900E-636A0C536278}" sibTransId="{C7BFB02D-E3A0-49DC-98B3-07AF638D65BD}"/>
    <dgm:cxn modelId="{7B224B94-5369-4025-8E1F-E0C55AE3B2CE}" type="presOf" srcId="{4993D9A1-ADA3-4709-93BC-5417613E774C}" destId="{23E94732-F878-4531-AADE-3686FE502949}" srcOrd="0" destOrd="2" presId="urn:microsoft.com/office/officeart/2005/8/layout/default"/>
    <dgm:cxn modelId="{38A18CA4-117F-41E6-95F4-BD273F612C68}" srcId="{011D9EED-196A-4FF3-8C13-4D2CFADA9037}" destId="{FA2BDF23-10E6-4546-8266-18B4A2F8E3BA}" srcOrd="0" destOrd="0" parTransId="{D7624BB5-FA0A-430F-8CEA-BBE86BB8E9D1}" sibTransId="{65F384DD-B041-4E0E-91A6-DDC03E848D99}"/>
    <dgm:cxn modelId="{0AE69DC1-4644-4170-BDCE-1F65F07005BA}" type="presOf" srcId="{FA2BDF23-10E6-4546-8266-18B4A2F8E3BA}" destId="{C3E9CF9D-9D26-42A9-8D2A-EA512D4BD7EA}" srcOrd="0" destOrd="0" presId="urn:microsoft.com/office/officeart/2005/8/layout/default"/>
    <dgm:cxn modelId="{5AC1DBEE-2AE5-4B8E-8AD5-AF2CEDCEA65D}" type="presParOf" srcId="{D6E684A3-BEB5-429D-A121-371A07198118}" destId="{C3E9CF9D-9D26-42A9-8D2A-EA512D4BD7EA}" srcOrd="0" destOrd="0" presId="urn:microsoft.com/office/officeart/2005/8/layout/default"/>
    <dgm:cxn modelId="{0414B08D-4802-440D-8489-E55AE15E9195}" type="presParOf" srcId="{D6E684A3-BEB5-429D-A121-371A07198118}" destId="{2BF2E49F-CE3A-41FC-831A-AA375AFF2392}" srcOrd="1" destOrd="0" presId="urn:microsoft.com/office/officeart/2005/8/layout/default"/>
    <dgm:cxn modelId="{0EA6F32B-8059-41F4-91CA-D418D7832578}" type="presParOf" srcId="{D6E684A3-BEB5-429D-A121-371A07198118}" destId="{23E94732-F878-4531-AADE-3686FE502949}"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C8741-2E10-4087-A10B-6F8DF05D68F8}">
      <dsp:nvSpPr>
        <dsp:cNvPr id="0" name=""/>
        <dsp:cNvSpPr/>
      </dsp:nvSpPr>
      <dsp:spPr>
        <a:xfrm>
          <a:off x="0" y="0"/>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3F634F-F0CA-496A-BDA1-CFF3BF0375D1}">
      <dsp:nvSpPr>
        <dsp:cNvPr id="0" name=""/>
        <dsp:cNvSpPr/>
      </dsp:nvSpPr>
      <dsp:spPr>
        <a:xfrm>
          <a:off x="0" y="0"/>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b="1" kern="1200" spc="150" baseline="0">
              <a:latin typeface="Tenorite" panose="00000500000000000000" pitchFamily="2" charset="0"/>
            </a:rPr>
            <a:t>ATTRITION</a:t>
          </a:r>
        </a:p>
      </dsp:txBody>
      <dsp:txXfrm>
        <a:off x="0" y="0"/>
        <a:ext cx="5587858" cy="1011529"/>
      </dsp:txXfrm>
    </dsp:sp>
    <dsp:sp modelId="{45ADB1E2-D1EA-44CF-9BED-563458E43699}">
      <dsp:nvSpPr>
        <dsp:cNvPr id="0" name=""/>
        <dsp:cNvSpPr/>
      </dsp:nvSpPr>
      <dsp:spPr>
        <a:xfrm>
          <a:off x="0" y="1011529"/>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1FC847-6485-41D4-975B-3507CA98ED10}">
      <dsp:nvSpPr>
        <dsp:cNvPr id="0" name=""/>
        <dsp:cNvSpPr/>
      </dsp:nvSpPr>
      <dsp:spPr>
        <a:xfrm>
          <a:off x="0" y="1011529"/>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b="1" kern="1200" spc="150" baseline="0">
              <a:latin typeface="Tenorite" panose="00000500000000000000" pitchFamily="2" charset="0"/>
            </a:rPr>
            <a:t>TENURE</a:t>
          </a:r>
          <a:endParaRPr lang="pt-PT" sz="2000" kern="1200">
            <a:latin typeface="Tenorite" panose="00000500000000000000" pitchFamily="2" charset="0"/>
          </a:endParaRPr>
        </a:p>
      </dsp:txBody>
      <dsp:txXfrm>
        <a:off x="0" y="1011529"/>
        <a:ext cx="5587858" cy="1011529"/>
      </dsp:txXfrm>
    </dsp:sp>
    <dsp:sp modelId="{07446256-9107-47AF-9C09-60E17F4CDFFE}">
      <dsp:nvSpPr>
        <dsp:cNvPr id="0" name=""/>
        <dsp:cNvSpPr/>
      </dsp:nvSpPr>
      <dsp:spPr>
        <a:xfrm>
          <a:off x="0" y="2023058"/>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677319-5ECF-4609-8808-83226154C14B}">
      <dsp:nvSpPr>
        <dsp:cNvPr id="0" name=""/>
        <dsp:cNvSpPr/>
      </dsp:nvSpPr>
      <dsp:spPr>
        <a:xfrm>
          <a:off x="0" y="2023058"/>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b="1" kern="1200" spc="150" baseline="0">
              <a:latin typeface="Tenorite" panose="00000500000000000000" pitchFamily="2" charset="0"/>
            </a:rPr>
            <a:t>RESIGNATION</a:t>
          </a:r>
          <a:endParaRPr lang="pt-PT" sz="2000" kern="1200">
            <a:latin typeface="Tenorite" panose="00000500000000000000" pitchFamily="2" charset="0"/>
          </a:endParaRPr>
        </a:p>
      </dsp:txBody>
      <dsp:txXfrm>
        <a:off x="0" y="2023058"/>
        <a:ext cx="5587858" cy="1011529"/>
      </dsp:txXfrm>
    </dsp:sp>
    <dsp:sp modelId="{026D8DF4-2694-458C-9967-921F6BEF5E5F}">
      <dsp:nvSpPr>
        <dsp:cNvPr id="0" name=""/>
        <dsp:cNvSpPr/>
      </dsp:nvSpPr>
      <dsp:spPr>
        <a:xfrm>
          <a:off x="0" y="3034588"/>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72ACF4-36E8-4A16-8060-8C8472A9ECE3}">
      <dsp:nvSpPr>
        <dsp:cNvPr id="0" name=""/>
        <dsp:cNvSpPr/>
      </dsp:nvSpPr>
      <dsp:spPr>
        <a:xfrm>
          <a:off x="0" y="3034588"/>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b="1" kern="1200" spc="150" baseline="0">
              <a:latin typeface="Tenorite" panose="00000500000000000000" pitchFamily="2" charset="0"/>
            </a:rPr>
            <a:t>COSTS</a:t>
          </a:r>
          <a:endParaRPr lang="pt-PT" sz="2000" kern="1200">
            <a:latin typeface="Tenorite" panose="00000500000000000000" pitchFamily="2" charset="0"/>
          </a:endParaRPr>
        </a:p>
      </dsp:txBody>
      <dsp:txXfrm>
        <a:off x="0" y="3034588"/>
        <a:ext cx="5587858" cy="10115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C8741-2E10-4087-A10B-6F8DF05D68F8}">
      <dsp:nvSpPr>
        <dsp:cNvPr id="0" name=""/>
        <dsp:cNvSpPr/>
      </dsp:nvSpPr>
      <dsp:spPr>
        <a:xfrm>
          <a:off x="0" y="0"/>
          <a:ext cx="760023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3F634F-F0CA-496A-BDA1-CFF3BF0375D1}">
      <dsp:nvSpPr>
        <dsp:cNvPr id="0" name=""/>
        <dsp:cNvSpPr/>
      </dsp:nvSpPr>
      <dsp:spPr>
        <a:xfrm>
          <a:off x="0" y="0"/>
          <a:ext cx="7600232"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noProof="0">
              <a:latin typeface="Tenorite" panose="00000500000000000000" pitchFamily="2" charset="0"/>
            </a:rPr>
            <a:t>Team Profile</a:t>
          </a:r>
        </a:p>
      </dsp:txBody>
      <dsp:txXfrm>
        <a:off x="0" y="0"/>
        <a:ext cx="7600232" cy="1011529"/>
      </dsp:txXfrm>
    </dsp:sp>
    <dsp:sp modelId="{45ADB1E2-D1EA-44CF-9BED-563458E43699}">
      <dsp:nvSpPr>
        <dsp:cNvPr id="0" name=""/>
        <dsp:cNvSpPr/>
      </dsp:nvSpPr>
      <dsp:spPr>
        <a:xfrm>
          <a:off x="0" y="1011529"/>
          <a:ext cx="760023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1FC847-6485-41D4-975B-3507CA98ED10}">
      <dsp:nvSpPr>
        <dsp:cNvPr id="0" name=""/>
        <dsp:cNvSpPr/>
      </dsp:nvSpPr>
      <dsp:spPr>
        <a:xfrm>
          <a:off x="0" y="1011529"/>
          <a:ext cx="7600232"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noProof="0">
              <a:latin typeface="Tenorite" panose="00000500000000000000" pitchFamily="2" charset="0"/>
            </a:rPr>
            <a:t>Main Factors Causing Attrition</a:t>
          </a:r>
        </a:p>
      </dsp:txBody>
      <dsp:txXfrm>
        <a:off x="0" y="1011529"/>
        <a:ext cx="7600232" cy="1011529"/>
      </dsp:txXfrm>
    </dsp:sp>
    <dsp:sp modelId="{07446256-9107-47AF-9C09-60E17F4CDFFE}">
      <dsp:nvSpPr>
        <dsp:cNvPr id="0" name=""/>
        <dsp:cNvSpPr/>
      </dsp:nvSpPr>
      <dsp:spPr>
        <a:xfrm>
          <a:off x="0" y="2023058"/>
          <a:ext cx="760023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677319-5ECF-4609-8808-83226154C14B}">
      <dsp:nvSpPr>
        <dsp:cNvPr id="0" name=""/>
        <dsp:cNvSpPr/>
      </dsp:nvSpPr>
      <dsp:spPr>
        <a:xfrm>
          <a:off x="0" y="2023058"/>
          <a:ext cx="7600232"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noProof="0">
              <a:latin typeface="Tenorite" panose="00000500000000000000" pitchFamily="2" charset="0"/>
            </a:rPr>
            <a:t>Employee Attrition Rate</a:t>
          </a:r>
        </a:p>
      </dsp:txBody>
      <dsp:txXfrm>
        <a:off x="0" y="2023058"/>
        <a:ext cx="7600232" cy="1011529"/>
      </dsp:txXfrm>
    </dsp:sp>
    <dsp:sp modelId="{026D8DF4-2694-458C-9967-921F6BEF5E5F}">
      <dsp:nvSpPr>
        <dsp:cNvPr id="0" name=""/>
        <dsp:cNvSpPr/>
      </dsp:nvSpPr>
      <dsp:spPr>
        <a:xfrm>
          <a:off x="0" y="3034588"/>
          <a:ext cx="760023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72ACF4-36E8-4A16-8060-8C8472A9ECE3}">
      <dsp:nvSpPr>
        <dsp:cNvPr id="0" name=""/>
        <dsp:cNvSpPr/>
      </dsp:nvSpPr>
      <dsp:spPr>
        <a:xfrm>
          <a:off x="0" y="3034588"/>
          <a:ext cx="7600232"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noProof="0">
              <a:latin typeface="Tenorite" panose="00000500000000000000" pitchFamily="2" charset="0"/>
            </a:rPr>
            <a:t>Retention Strategies</a:t>
          </a:r>
        </a:p>
      </dsp:txBody>
      <dsp:txXfrm>
        <a:off x="0" y="3034588"/>
        <a:ext cx="7600232" cy="10115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C8741-2E10-4087-A10B-6F8DF05D68F8}">
      <dsp:nvSpPr>
        <dsp:cNvPr id="0" name=""/>
        <dsp:cNvSpPr/>
      </dsp:nvSpPr>
      <dsp:spPr>
        <a:xfrm>
          <a:off x="0" y="0"/>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3F634F-F0CA-496A-BDA1-CFF3BF0375D1}">
      <dsp:nvSpPr>
        <dsp:cNvPr id="0" name=""/>
        <dsp:cNvSpPr/>
      </dsp:nvSpPr>
      <dsp:spPr>
        <a:xfrm>
          <a:off x="0" y="0"/>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Team Profile</a:t>
          </a:r>
        </a:p>
      </dsp:txBody>
      <dsp:txXfrm>
        <a:off x="0" y="0"/>
        <a:ext cx="5587858" cy="1011529"/>
      </dsp:txXfrm>
    </dsp:sp>
    <dsp:sp modelId="{45ADB1E2-D1EA-44CF-9BED-563458E43699}">
      <dsp:nvSpPr>
        <dsp:cNvPr id="0" name=""/>
        <dsp:cNvSpPr/>
      </dsp:nvSpPr>
      <dsp:spPr>
        <a:xfrm>
          <a:off x="0" y="1011529"/>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1FC847-6485-41D4-975B-3507CA98ED10}">
      <dsp:nvSpPr>
        <dsp:cNvPr id="0" name=""/>
        <dsp:cNvSpPr/>
      </dsp:nvSpPr>
      <dsp:spPr>
        <a:xfrm>
          <a:off x="0" y="1011529"/>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latin typeface="Tenorite" panose="00000500000000000000" pitchFamily="2" charset="0"/>
            </a:rPr>
            <a:t>Main Factors Causing Attrition</a:t>
          </a:r>
        </a:p>
      </dsp:txBody>
      <dsp:txXfrm>
        <a:off x="0" y="1011529"/>
        <a:ext cx="5587858" cy="1011529"/>
      </dsp:txXfrm>
    </dsp:sp>
    <dsp:sp modelId="{07446256-9107-47AF-9C09-60E17F4CDFFE}">
      <dsp:nvSpPr>
        <dsp:cNvPr id="0" name=""/>
        <dsp:cNvSpPr/>
      </dsp:nvSpPr>
      <dsp:spPr>
        <a:xfrm>
          <a:off x="0" y="2023058"/>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677319-5ECF-4609-8808-83226154C14B}">
      <dsp:nvSpPr>
        <dsp:cNvPr id="0" name=""/>
        <dsp:cNvSpPr/>
      </dsp:nvSpPr>
      <dsp:spPr>
        <a:xfrm>
          <a:off x="0" y="2023058"/>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Employee Attrition Rate</a:t>
          </a:r>
        </a:p>
      </dsp:txBody>
      <dsp:txXfrm>
        <a:off x="0" y="2023058"/>
        <a:ext cx="5587858" cy="1011529"/>
      </dsp:txXfrm>
    </dsp:sp>
    <dsp:sp modelId="{026D8DF4-2694-458C-9967-921F6BEF5E5F}">
      <dsp:nvSpPr>
        <dsp:cNvPr id="0" name=""/>
        <dsp:cNvSpPr/>
      </dsp:nvSpPr>
      <dsp:spPr>
        <a:xfrm>
          <a:off x="0" y="3034588"/>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72ACF4-36E8-4A16-8060-8C8472A9ECE3}">
      <dsp:nvSpPr>
        <dsp:cNvPr id="0" name=""/>
        <dsp:cNvSpPr/>
      </dsp:nvSpPr>
      <dsp:spPr>
        <a:xfrm>
          <a:off x="0" y="3034588"/>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Retention Strategies</a:t>
          </a:r>
        </a:p>
      </dsp:txBody>
      <dsp:txXfrm>
        <a:off x="0" y="3034588"/>
        <a:ext cx="5587858" cy="10115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C8741-2E10-4087-A10B-6F8DF05D68F8}">
      <dsp:nvSpPr>
        <dsp:cNvPr id="0" name=""/>
        <dsp:cNvSpPr/>
      </dsp:nvSpPr>
      <dsp:spPr>
        <a:xfrm>
          <a:off x="0" y="0"/>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3F634F-F0CA-496A-BDA1-CFF3BF0375D1}">
      <dsp:nvSpPr>
        <dsp:cNvPr id="0" name=""/>
        <dsp:cNvSpPr/>
      </dsp:nvSpPr>
      <dsp:spPr>
        <a:xfrm>
          <a:off x="0" y="0"/>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Team Profile</a:t>
          </a:r>
        </a:p>
      </dsp:txBody>
      <dsp:txXfrm>
        <a:off x="0" y="0"/>
        <a:ext cx="5587858" cy="1011529"/>
      </dsp:txXfrm>
    </dsp:sp>
    <dsp:sp modelId="{45ADB1E2-D1EA-44CF-9BED-563458E43699}">
      <dsp:nvSpPr>
        <dsp:cNvPr id="0" name=""/>
        <dsp:cNvSpPr/>
      </dsp:nvSpPr>
      <dsp:spPr>
        <a:xfrm>
          <a:off x="0" y="1011529"/>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1FC847-6485-41D4-975B-3507CA98ED10}">
      <dsp:nvSpPr>
        <dsp:cNvPr id="0" name=""/>
        <dsp:cNvSpPr/>
      </dsp:nvSpPr>
      <dsp:spPr>
        <a:xfrm>
          <a:off x="0" y="1011529"/>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Main Factors Causing Attrition</a:t>
          </a:r>
        </a:p>
      </dsp:txBody>
      <dsp:txXfrm>
        <a:off x="0" y="1011529"/>
        <a:ext cx="5587858" cy="1011529"/>
      </dsp:txXfrm>
    </dsp:sp>
    <dsp:sp modelId="{07446256-9107-47AF-9C09-60E17F4CDFFE}">
      <dsp:nvSpPr>
        <dsp:cNvPr id="0" name=""/>
        <dsp:cNvSpPr/>
      </dsp:nvSpPr>
      <dsp:spPr>
        <a:xfrm>
          <a:off x="0" y="2023058"/>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677319-5ECF-4609-8808-83226154C14B}">
      <dsp:nvSpPr>
        <dsp:cNvPr id="0" name=""/>
        <dsp:cNvSpPr/>
      </dsp:nvSpPr>
      <dsp:spPr>
        <a:xfrm>
          <a:off x="0" y="2023058"/>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tx1"/>
              </a:solidFill>
              <a:latin typeface="Tenorite" panose="00000500000000000000" pitchFamily="2" charset="0"/>
            </a:rPr>
            <a:t>Employee Attrition Rate</a:t>
          </a:r>
        </a:p>
      </dsp:txBody>
      <dsp:txXfrm>
        <a:off x="0" y="2023058"/>
        <a:ext cx="5587858" cy="1011529"/>
      </dsp:txXfrm>
    </dsp:sp>
    <dsp:sp modelId="{026D8DF4-2694-458C-9967-921F6BEF5E5F}">
      <dsp:nvSpPr>
        <dsp:cNvPr id="0" name=""/>
        <dsp:cNvSpPr/>
      </dsp:nvSpPr>
      <dsp:spPr>
        <a:xfrm>
          <a:off x="0" y="3034588"/>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72ACF4-36E8-4A16-8060-8C8472A9ECE3}">
      <dsp:nvSpPr>
        <dsp:cNvPr id="0" name=""/>
        <dsp:cNvSpPr/>
      </dsp:nvSpPr>
      <dsp:spPr>
        <a:xfrm>
          <a:off x="0" y="3034588"/>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Retention Strategies</a:t>
          </a:r>
        </a:p>
      </dsp:txBody>
      <dsp:txXfrm>
        <a:off x="0" y="3034588"/>
        <a:ext cx="5587858" cy="101152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8C8741-2E10-4087-A10B-6F8DF05D68F8}">
      <dsp:nvSpPr>
        <dsp:cNvPr id="0" name=""/>
        <dsp:cNvSpPr/>
      </dsp:nvSpPr>
      <dsp:spPr>
        <a:xfrm>
          <a:off x="0" y="0"/>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3F634F-F0CA-496A-BDA1-CFF3BF0375D1}">
      <dsp:nvSpPr>
        <dsp:cNvPr id="0" name=""/>
        <dsp:cNvSpPr/>
      </dsp:nvSpPr>
      <dsp:spPr>
        <a:xfrm>
          <a:off x="0" y="0"/>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Team Profile</a:t>
          </a:r>
        </a:p>
      </dsp:txBody>
      <dsp:txXfrm>
        <a:off x="0" y="0"/>
        <a:ext cx="5587858" cy="1011529"/>
      </dsp:txXfrm>
    </dsp:sp>
    <dsp:sp modelId="{45ADB1E2-D1EA-44CF-9BED-563458E43699}">
      <dsp:nvSpPr>
        <dsp:cNvPr id="0" name=""/>
        <dsp:cNvSpPr/>
      </dsp:nvSpPr>
      <dsp:spPr>
        <a:xfrm>
          <a:off x="0" y="1011529"/>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1FC847-6485-41D4-975B-3507CA98ED10}">
      <dsp:nvSpPr>
        <dsp:cNvPr id="0" name=""/>
        <dsp:cNvSpPr/>
      </dsp:nvSpPr>
      <dsp:spPr>
        <a:xfrm>
          <a:off x="0" y="1011529"/>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Main Factors Causing Attrition</a:t>
          </a:r>
        </a:p>
      </dsp:txBody>
      <dsp:txXfrm>
        <a:off x="0" y="1011529"/>
        <a:ext cx="5587858" cy="1011529"/>
      </dsp:txXfrm>
    </dsp:sp>
    <dsp:sp modelId="{07446256-9107-47AF-9C09-60E17F4CDFFE}">
      <dsp:nvSpPr>
        <dsp:cNvPr id="0" name=""/>
        <dsp:cNvSpPr/>
      </dsp:nvSpPr>
      <dsp:spPr>
        <a:xfrm>
          <a:off x="0" y="2023058"/>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677319-5ECF-4609-8808-83226154C14B}">
      <dsp:nvSpPr>
        <dsp:cNvPr id="0" name=""/>
        <dsp:cNvSpPr/>
      </dsp:nvSpPr>
      <dsp:spPr>
        <a:xfrm>
          <a:off x="0" y="2023058"/>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bg1">
                  <a:lumMod val="75000"/>
                </a:schemeClr>
              </a:solidFill>
              <a:latin typeface="Tenorite" panose="00000500000000000000" pitchFamily="2" charset="0"/>
            </a:rPr>
            <a:t>Employee Attrition Rate</a:t>
          </a:r>
        </a:p>
      </dsp:txBody>
      <dsp:txXfrm>
        <a:off x="0" y="2023058"/>
        <a:ext cx="5587858" cy="1011529"/>
      </dsp:txXfrm>
    </dsp:sp>
    <dsp:sp modelId="{026D8DF4-2694-458C-9967-921F6BEF5E5F}">
      <dsp:nvSpPr>
        <dsp:cNvPr id="0" name=""/>
        <dsp:cNvSpPr/>
      </dsp:nvSpPr>
      <dsp:spPr>
        <a:xfrm>
          <a:off x="0" y="3034588"/>
          <a:ext cx="55878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72ACF4-36E8-4A16-8060-8C8472A9ECE3}">
      <dsp:nvSpPr>
        <dsp:cNvPr id="0" name=""/>
        <dsp:cNvSpPr/>
      </dsp:nvSpPr>
      <dsp:spPr>
        <a:xfrm>
          <a:off x="0" y="3034588"/>
          <a:ext cx="5587858" cy="10115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PT" sz="2000" kern="1200">
              <a:solidFill>
                <a:schemeClr val="tx1"/>
              </a:solidFill>
              <a:latin typeface="Tenorite" panose="00000500000000000000" pitchFamily="2" charset="0"/>
            </a:rPr>
            <a:t>Retention Strategies</a:t>
          </a:r>
        </a:p>
      </dsp:txBody>
      <dsp:txXfrm>
        <a:off x="0" y="3034588"/>
        <a:ext cx="5587858" cy="10115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7845C-C78B-41F1-AC07-FDB9FF46B599}">
      <dsp:nvSpPr>
        <dsp:cNvPr id="0" name=""/>
        <dsp:cNvSpPr/>
      </dsp:nvSpPr>
      <dsp:spPr>
        <a:xfrm>
          <a:off x="434118" y="511"/>
          <a:ext cx="4430590" cy="3388418"/>
        </a:xfrm>
        <a:prstGeom prst="rect">
          <a:avLst/>
        </a:prstGeom>
        <a:noFill/>
        <a:ln w="12700" cap="flat" cmpd="sng" algn="ctr">
          <a:solidFill>
            <a:schemeClr val="bg1">
              <a:lumMod val="9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PT" sz="2400" b="1" kern="1200" cap="all">
              <a:solidFill>
                <a:schemeClr val="accent1">
                  <a:lumMod val="75000"/>
                </a:schemeClr>
              </a:solidFill>
              <a:latin typeface="Tenorite" panose="00000500000000000000" pitchFamily="2" charset="0"/>
            </a:rPr>
            <a:t>training and development</a:t>
          </a:r>
          <a:endParaRPr lang="pt-PT" sz="2400" b="1" kern="1200">
            <a:solidFill>
              <a:schemeClr val="accent1">
                <a:lumMod val="75000"/>
              </a:schemeClr>
            </a:solidFill>
            <a:latin typeface="Tenorite" panose="00000500000000000000" pitchFamily="2" charset="0"/>
          </a:endParaRPr>
        </a:p>
        <a:p>
          <a:pPr marL="228600" lvl="1" indent="-228600" algn="l" defTabSz="889000" rtl="0">
            <a:lnSpc>
              <a:spcPct val="90000"/>
            </a:lnSpc>
            <a:spcBef>
              <a:spcPct val="0"/>
            </a:spcBef>
            <a:spcAft>
              <a:spcPct val="15000"/>
            </a:spcAft>
            <a:buFont typeface="Arial" panose="020B0604020202020204" pitchFamily="34" charset="0"/>
            <a:buChar char="•"/>
          </a:pPr>
          <a:r>
            <a:rPr lang="en-US" sz="2000" kern="1200">
              <a:solidFill>
                <a:schemeClr val="tx1"/>
              </a:solidFill>
              <a:latin typeface="Tenorite" panose="00000500000000000000" pitchFamily="2" charset="0"/>
            </a:rPr>
            <a:t>Identify </a:t>
          </a:r>
          <a:r>
            <a:rPr kumimoji="0" lang="en-US" sz="2000" b="0" i="0" u="none" strike="noStrike" kern="1200" cap="none" spc="50" normalizeH="0" baseline="0">
              <a:ln>
                <a:noFill/>
              </a:ln>
              <a:solidFill>
                <a:schemeClr val="accent1">
                  <a:lumMod val="75000"/>
                </a:schemeClr>
              </a:solidFill>
              <a:effectLst/>
              <a:uLnTx/>
              <a:uFillTx/>
              <a:latin typeface="Tenorite"/>
              <a:ea typeface="+mn-ea"/>
              <a:cs typeface="+mn-cs"/>
            </a:rPr>
            <a:t>Training needs </a:t>
          </a:r>
          <a:r>
            <a:rPr lang="en-US" sz="2000" kern="1200">
              <a:solidFill>
                <a:schemeClr val="tx1"/>
              </a:solidFill>
              <a:latin typeface="Tenorite" panose="00000500000000000000" pitchFamily="2" charset="0"/>
            </a:rPr>
            <a:t>and provide the appropriate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Training</a:t>
          </a:r>
          <a:r>
            <a:rPr lang="en-US" sz="2000" kern="1200">
              <a:solidFill>
                <a:schemeClr val="tx1"/>
              </a:solidFill>
              <a:latin typeface="Tenorite" panose="00000500000000000000" pitchFamily="2" charset="0"/>
            </a:rPr>
            <a:t> to enhance the employee’s skills, motivating them to reach higher positions.</a:t>
          </a:r>
          <a:endParaRPr lang="pt-PT" sz="2000" kern="1200">
            <a:solidFill>
              <a:schemeClr val="tx1"/>
            </a:solidFill>
            <a:latin typeface="Tenorite" panose="00000500000000000000" pitchFamily="2" charset="0"/>
          </a:endParaRPr>
        </a:p>
        <a:p>
          <a:pPr marL="228600" lvl="1" indent="-228600" algn="l" defTabSz="889000" rtl="0">
            <a:lnSpc>
              <a:spcPct val="90000"/>
            </a:lnSpc>
            <a:spcBef>
              <a:spcPct val="0"/>
            </a:spcBef>
            <a:spcAft>
              <a:spcPct val="15000"/>
            </a:spcAft>
            <a:buFont typeface="Arial" panose="020B0604020202020204" pitchFamily="34" charset="0"/>
            <a:buChar char="•"/>
          </a:pPr>
          <a:r>
            <a:rPr lang="pt-PT" sz="2000" kern="1200">
              <a:solidFill>
                <a:schemeClr val="tx1"/>
              </a:solidFill>
              <a:latin typeface="Tenorite" panose="00000500000000000000" pitchFamily="2" charset="0"/>
            </a:rPr>
            <a:t>Define </a:t>
          </a:r>
          <a:r>
            <a:rPr kumimoji="0" lang="pt-PT" sz="2000" b="0" i="0" u="none" strike="noStrike" kern="1200" cap="none" spc="50" normalizeH="0" baseline="0">
              <a:ln>
                <a:noFill/>
              </a:ln>
              <a:solidFill>
                <a:srgbClr val="3B9EB1">
                  <a:lumMod val="75000"/>
                </a:srgbClr>
              </a:solidFill>
              <a:effectLst/>
              <a:uLnTx/>
              <a:uFillTx/>
              <a:latin typeface="Tenorite"/>
              <a:ea typeface="+mn-ea"/>
              <a:cs typeface="+mn-cs"/>
            </a:rPr>
            <a:t>Young Talent programs</a:t>
          </a:r>
          <a:r>
            <a:rPr lang="pt-PT" sz="2000" kern="1200">
              <a:solidFill>
                <a:schemeClr val="tx1"/>
              </a:solidFill>
              <a:latin typeface="Tenorite" panose="00000500000000000000" pitchFamily="2" charset="0"/>
            </a:rPr>
            <a:t>, targetting the younger employee profile.</a:t>
          </a:r>
        </a:p>
      </dsp:txBody>
      <dsp:txXfrm>
        <a:off x="434118" y="511"/>
        <a:ext cx="4430590" cy="3388418"/>
      </dsp:txXfrm>
    </dsp:sp>
    <dsp:sp modelId="{A08F240C-466A-437E-84A2-43AA6255B7FA}">
      <dsp:nvSpPr>
        <dsp:cNvPr id="0" name=""/>
        <dsp:cNvSpPr/>
      </dsp:nvSpPr>
      <dsp:spPr>
        <a:xfrm>
          <a:off x="5307768" y="7928"/>
          <a:ext cx="4430590" cy="3373584"/>
        </a:xfrm>
        <a:prstGeom prst="rect">
          <a:avLst/>
        </a:prstGeom>
        <a:noFill/>
        <a:ln w="12700" cap="flat" cmpd="sng" algn="ctr">
          <a:solidFill>
            <a:schemeClr val="bg1">
              <a:lumMod val="9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cap="all" noProof="0">
              <a:solidFill>
                <a:schemeClr val="accent1">
                  <a:lumMod val="75000"/>
                </a:schemeClr>
              </a:solidFill>
              <a:latin typeface="Tenorite" panose="00000500000000000000" pitchFamily="2" charset="0"/>
            </a:rPr>
            <a:t>Career DEVELOPMENT PLAN</a:t>
          </a:r>
          <a:endParaRPr lang="en-US" sz="2400" b="1" kern="1200" noProof="0">
            <a:solidFill>
              <a:schemeClr val="accent1">
                <a:lumMod val="75000"/>
              </a:schemeClr>
            </a:solidFill>
            <a:latin typeface="Tenorite" panose="00000500000000000000" pitchFamily="2" charset="0"/>
          </a:endParaRPr>
        </a:p>
        <a:p>
          <a:pPr marL="228600" lvl="1" indent="-228600" algn="l" defTabSz="889000" rtl="0">
            <a:lnSpc>
              <a:spcPct val="90000"/>
            </a:lnSpc>
            <a:spcBef>
              <a:spcPct val="0"/>
            </a:spcBef>
            <a:spcAft>
              <a:spcPct val="15000"/>
            </a:spcAft>
            <a:buFont typeface="Arial" panose="020B0604020202020204" pitchFamily="34" charset="0"/>
            <a:buChar char="•"/>
          </a:pPr>
          <a:r>
            <a:rPr lang="en-US" sz="2000" kern="1200">
              <a:solidFill>
                <a:schemeClr val="tx1"/>
              </a:solidFill>
              <a:latin typeface="Tenorite" panose="00000500000000000000" pitchFamily="2" charset="0"/>
            </a:rPr>
            <a:t>Define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career development programs </a:t>
          </a:r>
          <a:r>
            <a:rPr lang="en-US" sz="2000" kern="1200">
              <a:solidFill>
                <a:schemeClr val="tx1"/>
              </a:solidFill>
              <a:latin typeface="Tenorite" panose="00000500000000000000" pitchFamily="2" charset="0"/>
            </a:rPr>
            <a:t>to provide employees with a clear idea of possible career trajectories.</a:t>
          </a:r>
          <a:endParaRPr lang="pt-PT" sz="2000" kern="1200">
            <a:solidFill>
              <a:schemeClr val="tx1"/>
            </a:solidFill>
            <a:latin typeface="Tenorite" panose="00000500000000000000" pitchFamily="2" charset="0"/>
          </a:endParaRPr>
        </a:p>
        <a:p>
          <a:pPr marL="228600" lvl="1" indent="-228600" algn="l" defTabSz="889000" rtl="0">
            <a:lnSpc>
              <a:spcPct val="90000"/>
            </a:lnSpc>
            <a:spcBef>
              <a:spcPct val="0"/>
            </a:spcBef>
            <a:spcAft>
              <a:spcPct val="15000"/>
            </a:spcAft>
            <a:buFont typeface="Arial" panose="020B0604020202020204" pitchFamily="34" charset="0"/>
            <a:buChar char="•"/>
          </a:pPr>
          <a:r>
            <a:rPr lang="en-US" sz="2000" kern="1200">
              <a:solidFill>
                <a:schemeClr val="tx1"/>
              </a:solidFill>
              <a:latin typeface="Tenorite" panose="00000500000000000000" pitchFamily="2" charset="0"/>
            </a:rPr>
            <a:t>Identify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high-potential employees </a:t>
          </a:r>
          <a:r>
            <a:rPr lang="en-US" sz="2000" kern="1200">
              <a:solidFill>
                <a:schemeClr val="tx1"/>
              </a:solidFill>
              <a:latin typeface="Tenorite" panose="00000500000000000000" pitchFamily="2" charset="0"/>
            </a:rPr>
            <a:t>and offer professional growth opportunities that will position them for future leadership positions.</a:t>
          </a:r>
          <a:endParaRPr lang="pt-PT" sz="2000" kern="1200">
            <a:solidFill>
              <a:schemeClr val="tx1"/>
            </a:solidFill>
            <a:latin typeface="Tenorite" panose="00000500000000000000" pitchFamily="2" charset="0"/>
          </a:endParaRPr>
        </a:p>
      </dsp:txBody>
      <dsp:txXfrm>
        <a:off x="5307768" y="7928"/>
        <a:ext cx="4430590" cy="337358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7845C-C78B-41F1-AC07-FDB9FF46B599}">
      <dsp:nvSpPr>
        <dsp:cNvPr id="0" name=""/>
        <dsp:cNvSpPr/>
      </dsp:nvSpPr>
      <dsp:spPr>
        <a:xfrm>
          <a:off x="1178" y="559656"/>
          <a:ext cx="4597037" cy="2758222"/>
        </a:xfrm>
        <a:prstGeom prst="rect">
          <a:avLst/>
        </a:prstGeom>
        <a:noFill/>
        <a:ln w="12700" cap="flat" cmpd="sng" algn="ctr">
          <a:solidFill>
            <a:schemeClr val="bg1">
              <a:lumMod val="9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solidFill>
                <a:schemeClr val="accent1">
                  <a:lumMod val="75000"/>
                </a:schemeClr>
              </a:solidFill>
              <a:latin typeface="Tenorite" panose="00000500000000000000" pitchFamily="2" charset="0"/>
            </a:rPr>
            <a:t>COMPENSATION PACKAGES</a:t>
          </a:r>
          <a:endParaRPr lang="pt-PT" sz="2400" b="1" kern="1200">
            <a:solidFill>
              <a:schemeClr val="accent1">
                <a:lumMod val="75000"/>
              </a:schemeClr>
            </a:solidFill>
            <a:latin typeface="Tenorite" panose="00000500000000000000" pitchFamily="2" charset="0"/>
          </a:endParaRPr>
        </a:p>
        <a:p>
          <a:pPr marL="228600" lvl="1" indent="-228600" algn="l" defTabSz="889000">
            <a:lnSpc>
              <a:spcPct val="90000"/>
            </a:lnSpc>
            <a:spcBef>
              <a:spcPct val="0"/>
            </a:spcBef>
            <a:spcAft>
              <a:spcPct val="15000"/>
            </a:spcAft>
            <a:buChar char="•"/>
          </a:pPr>
          <a:r>
            <a:rPr lang="en-US" sz="2000" kern="1200">
              <a:solidFill>
                <a:schemeClr val="tx1"/>
              </a:solidFill>
              <a:latin typeface="Tenorite" panose="00000500000000000000" pitchFamily="2" charset="0"/>
            </a:rPr>
            <a:t>Provide </a:t>
          </a:r>
          <a:r>
            <a:rPr lang="en-US" sz="2000" kern="1200">
              <a:solidFill>
                <a:srgbClr val="000000"/>
              </a:solidFill>
              <a:latin typeface="Tenorite" panose="00000500000000000000" pitchFamily="2" charset="0"/>
              <a:ea typeface="+mn-ea"/>
              <a:cs typeface="+mn-cs"/>
            </a:rPr>
            <a:t>attractive compensation package </a:t>
          </a:r>
          <a:r>
            <a:rPr lang="en-US" sz="2000" kern="1200">
              <a:solidFill>
                <a:schemeClr val="tx1"/>
              </a:solidFill>
              <a:latin typeface="Tenorite" panose="00000500000000000000" pitchFamily="2" charset="0"/>
            </a:rPr>
            <a:t>that includes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competitive salaries</a:t>
          </a:r>
          <a:r>
            <a:rPr lang="en-US" sz="2000" b="0" kern="1200">
              <a:solidFill>
                <a:schemeClr val="tx1"/>
              </a:solidFill>
              <a:latin typeface="Tenorite" panose="00000500000000000000" pitchFamily="2" charset="0"/>
            </a:rPr>
            <a:t>,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performance-based bonuses</a:t>
          </a:r>
          <a:r>
            <a:rPr lang="en-US" sz="2000" b="0" kern="1200">
              <a:solidFill>
                <a:schemeClr val="tx1"/>
              </a:solidFill>
              <a:latin typeface="Tenorite" panose="00000500000000000000" pitchFamily="2" charset="0"/>
            </a:rPr>
            <a:t>, company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stock-options</a:t>
          </a:r>
          <a:r>
            <a:rPr lang="en-US" sz="2000" b="0" kern="1200">
              <a:solidFill>
                <a:schemeClr val="tx1"/>
              </a:solidFill>
              <a:latin typeface="Tenorite" panose="00000500000000000000" pitchFamily="2" charset="0"/>
            </a:rPr>
            <a:t>,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health insurance </a:t>
          </a:r>
          <a:r>
            <a:rPr lang="en-US" sz="2000" b="0" kern="1200">
              <a:solidFill>
                <a:schemeClr val="tx1"/>
              </a:solidFill>
              <a:latin typeface="Tenorite" panose="00000500000000000000" pitchFamily="2" charset="0"/>
            </a:rPr>
            <a:t>and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retirement plans</a:t>
          </a:r>
          <a:r>
            <a:rPr lang="en-US" sz="2000" b="0" kern="1200">
              <a:solidFill>
                <a:schemeClr val="tx1"/>
              </a:solidFill>
              <a:latin typeface="Tenorite" panose="00000500000000000000" pitchFamily="2" charset="0"/>
            </a:rPr>
            <a:t>.</a:t>
          </a:r>
          <a:endParaRPr lang="pt-PT" sz="2000" b="0" kern="1200">
            <a:solidFill>
              <a:schemeClr val="tx1"/>
            </a:solidFill>
            <a:latin typeface="Tenorite" panose="00000500000000000000" pitchFamily="2" charset="0"/>
          </a:endParaRPr>
        </a:p>
      </dsp:txBody>
      <dsp:txXfrm>
        <a:off x="1178" y="559656"/>
        <a:ext cx="4597037" cy="2758222"/>
      </dsp:txXfrm>
    </dsp:sp>
    <dsp:sp modelId="{B553274C-80A7-44FE-9369-C2DC42763B79}">
      <dsp:nvSpPr>
        <dsp:cNvPr id="0" name=""/>
        <dsp:cNvSpPr/>
      </dsp:nvSpPr>
      <dsp:spPr>
        <a:xfrm>
          <a:off x="5057920" y="559656"/>
          <a:ext cx="4597037" cy="2758222"/>
        </a:xfrm>
        <a:prstGeom prst="rect">
          <a:avLst/>
        </a:prstGeom>
        <a:noFill/>
        <a:ln w="12700" cap="flat" cmpd="sng" algn="ctr">
          <a:solidFill>
            <a:schemeClr val="bg1">
              <a:lumMod val="9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PT" sz="2400" b="1" kern="1200">
              <a:solidFill>
                <a:schemeClr val="accent1">
                  <a:lumMod val="75000"/>
                </a:schemeClr>
              </a:solidFill>
              <a:latin typeface="Tenorite" panose="00000500000000000000" pitchFamily="2" charset="0"/>
            </a:rPr>
            <a:t>BENEFITS</a:t>
          </a:r>
        </a:p>
        <a:p>
          <a:pPr marL="228600" lvl="1" indent="-228600" algn="l" defTabSz="889000">
            <a:lnSpc>
              <a:spcPct val="90000"/>
            </a:lnSpc>
            <a:spcBef>
              <a:spcPct val="0"/>
            </a:spcBef>
            <a:spcAft>
              <a:spcPct val="15000"/>
            </a:spcAft>
            <a:buChar char="•"/>
          </a:pPr>
          <a:r>
            <a:rPr lang="pt-PT" sz="2000" b="0" kern="1200">
              <a:solidFill>
                <a:schemeClr val="tx1"/>
              </a:solidFill>
              <a:latin typeface="Tenorite" panose="00000500000000000000" pitchFamily="2" charset="0"/>
            </a:rPr>
            <a:t>Offer corporate benefits such as </a:t>
          </a:r>
          <a:r>
            <a:rPr kumimoji="0" lang="en-US" sz="2000" b="0" i="0" u="none" strike="noStrike" kern="1200" cap="none" spc="50" normalizeH="0" baseline="0">
              <a:ln>
                <a:noFill/>
              </a:ln>
              <a:solidFill>
                <a:schemeClr val="accent1">
                  <a:lumMod val="75000"/>
                </a:schemeClr>
              </a:solidFill>
              <a:effectLst/>
              <a:uLnTx/>
              <a:uFillTx/>
              <a:latin typeface="Tenorite"/>
              <a:ea typeface="+mn-ea"/>
              <a:cs typeface="+mn-cs"/>
            </a:rPr>
            <a:t>company provided-lunches</a:t>
          </a:r>
          <a:r>
            <a:rPr lang="en-US" sz="2000" b="0" kern="1200">
              <a:solidFill>
                <a:schemeClr val="tx1"/>
              </a:solidFill>
              <a:latin typeface="Tenorite" panose="00000500000000000000" pitchFamily="2" charset="0"/>
            </a:rPr>
            <a:t>,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on-site parking</a:t>
          </a:r>
          <a:r>
            <a:rPr lang="en-US" sz="2000" b="0" kern="1200">
              <a:solidFill>
                <a:schemeClr val="tx1"/>
              </a:solidFill>
              <a:latin typeface="Tenorite" panose="00000500000000000000" pitchFamily="2" charset="0"/>
            </a:rPr>
            <a:t>, a free day on the employee’s </a:t>
          </a:r>
          <a:r>
            <a:rPr kumimoji="0" lang="pt-PT" sz="2000" b="0" i="0" u="none" strike="noStrike" kern="1200" cap="none" spc="50" normalizeH="0" baseline="0">
              <a:ln>
                <a:noFill/>
              </a:ln>
              <a:solidFill>
                <a:srgbClr val="3B9EB1">
                  <a:lumMod val="75000"/>
                </a:srgbClr>
              </a:solidFill>
              <a:effectLst/>
              <a:uLnTx/>
              <a:uFillTx/>
              <a:latin typeface="Tenorite"/>
              <a:ea typeface="+mn-ea"/>
              <a:cs typeface="+mn-cs"/>
            </a:rPr>
            <a:t>Birthday </a:t>
          </a:r>
          <a:r>
            <a:rPr lang="pt-PT" sz="2000" b="0" kern="1200">
              <a:solidFill>
                <a:schemeClr val="tx1"/>
              </a:solidFill>
              <a:latin typeface="Tenorite" panose="00000500000000000000" pitchFamily="2" charset="0"/>
            </a:rPr>
            <a:t>and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Flexible work </a:t>
          </a:r>
          <a:r>
            <a:rPr lang="pt-PT" sz="2000" b="0" kern="1200">
              <a:solidFill>
                <a:schemeClr val="tx1"/>
              </a:solidFill>
              <a:latin typeface="Tenorite" panose="00000500000000000000" pitchFamily="2" charset="0"/>
            </a:rPr>
            <a:t>schedules</a:t>
          </a:r>
          <a:r>
            <a:rPr lang="en-US" sz="2000" kern="1200">
              <a:solidFill>
                <a:schemeClr val="tx1"/>
              </a:solidFill>
              <a:latin typeface="Tenorite" panose="00000500000000000000" pitchFamily="2" charset="0"/>
            </a:rPr>
            <a:t>.</a:t>
          </a:r>
          <a:endParaRPr lang="pt-PT" sz="2000" kern="1200">
            <a:solidFill>
              <a:schemeClr val="tx1"/>
            </a:solidFill>
            <a:latin typeface="Tenorite" panose="00000500000000000000" pitchFamily="2" charset="0"/>
          </a:endParaRPr>
        </a:p>
      </dsp:txBody>
      <dsp:txXfrm>
        <a:off x="5057920" y="559656"/>
        <a:ext cx="4597037" cy="275822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E9CF9D-9D26-42A9-8D2A-EA512D4BD7EA}">
      <dsp:nvSpPr>
        <dsp:cNvPr id="0" name=""/>
        <dsp:cNvSpPr/>
      </dsp:nvSpPr>
      <dsp:spPr>
        <a:xfrm>
          <a:off x="1217" y="242459"/>
          <a:ext cx="4749578" cy="3305962"/>
        </a:xfrm>
        <a:prstGeom prst="rect">
          <a:avLst/>
        </a:prstGeom>
        <a:noFill/>
        <a:ln w="12700" cap="flat" cmpd="sng" algn="ctr">
          <a:solidFill>
            <a:schemeClr val="bg1">
              <a:lumMod val="9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solidFill>
                <a:srgbClr val="3B9EB1">
                  <a:lumMod val="75000"/>
                </a:srgbClr>
              </a:solidFill>
              <a:latin typeface="Tenorite" panose="00000500000000000000" pitchFamily="2" charset="0"/>
              <a:ea typeface="+mn-ea"/>
              <a:cs typeface="+mn-cs"/>
            </a:rPr>
            <a:t>WORK-LIFE BALANCE</a:t>
          </a:r>
          <a:endParaRPr lang="pt-PT" sz="2400" b="1" kern="1200">
            <a:solidFill>
              <a:srgbClr val="3B9EB1">
                <a:lumMod val="75000"/>
              </a:srgbClr>
            </a:solidFill>
            <a:latin typeface="Tenorite" panose="00000500000000000000" pitchFamily="2" charset="0"/>
            <a:ea typeface="+mn-ea"/>
            <a:cs typeface="+mn-cs"/>
          </a:endParaRPr>
        </a:p>
        <a:p>
          <a:pPr marL="228600" lvl="1" indent="-228600" algn="l" defTabSz="889000" rtl="0">
            <a:lnSpc>
              <a:spcPct val="90000"/>
            </a:lnSpc>
            <a:spcBef>
              <a:spcPct val="0"/>
            </a:spcBef>
            <a:spcAft>
              <a:spcPct val="15000"/>
            </a:spcAft>
            <a:buFont typeface="Arial" panose="020B0604020202020204" pitchFamily="34" charset="0"/>
            <a:buChar char="•"/>
          </a:pP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Working from home</a:t>
          </a:r>
          <a:r>
            <a:rPr lang="en-US" sz="2000" b="0" kern="1200">
              <a:solidFill>
                <a:schemeClr val="tx1"/>
              </a:solidFill>
              <a:latin typeface="Tenorite" panose="00000500000000000000" pitchFamily="2" charset="0"/>
            </a:rPr>
            <a:t>, decreasing travel time to the office.</a:t>
          </a:r>
          <a:endParaRPr lang="pt-PT" sz="2000" b="0" kern="1200">
            <a:solidFill>
              <a:schemeClr val="tx1"/>
            </a:solidFill>
            <a:latin typeface="Tenorite" panose="00000500000000000000" pitchFamily="2" charset="0"/>
          </a:endParaRPr>
        </a:p>
        <a:p>
          <a:pPr marL="228600" lvl="1" indent="-228600" algn="l" defTabSz="889000" rtl="0">
            <a:lnSpc>
              <a:spcPct val="90000"/>
            </a:lnSpc>
            <a:spcBef>
              <a:spcPct val="0"/>
            </a:spcBef>
            <a:spcAft>
              <a:spcPct val="15000"/>
            </a:spcAft>
            <a:buFont typeface="Arial" panose="020B0604020202020204" pitchFamily="34" charset="0"/>
            <a:buChar char="•"/>
          </a:pP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Flexi-time</a:t>
          </a:r>
          <a:r>
            <a:rPr lang="en-US" sz="2000" b="0" kern="1200">
              <a:solidFill>
                <a:schemeClr val="tx1"/>
              </a:solidFill>
              <a:latin typeface="Tenorite" panose="00000500000000000000" pitchFamily="2" charset="0"/>
            </a:rPr>
            <a:t>, allowing the employee to balance their personal and professional life.</a:t>
          </a:r>
          <a:endParaRPr lang="pt-PT" sz="2000" b="0" kern="1200">
            <a:solidFill>
              <a:schemeClr val="tx1"/>
            </a:solidFill>
            <a:latin typeface="Tenorite" panose="00000500000000000000" pitchFamily="2" charset="0"/>
          </a:endParaRPr>
        </a:p>
        <a:p>
          <a:pPr marL="228600" lvl="1" indent="-228600" algn="l" defTabSz="889000">
            <a:lnSpc>
              <a:spcPct val="90000"/>
            </a:lnSpc>
            <a:spcBef>
              <a:spcPct val="0"/>
            </a:spcBef>
            <a:spcAft>
              <a:spcPct val="15000"/>
            </a:spcAft>
            <a:buChar char="•"/>
          </a:pPr>
          <a:r>
            <a:rPr lang="en-US" sz="2000" b="0" kern="1200">
              <a:solidFill>
                <a:schemeClr val="tx1"/>
              </a:solidFill>
              <a:latin typeface="Tenorite" panose="00000500000000000000" pitchFamily="2" charset="0"/>
            </a:rPr>
            <a:t>Provide resources to help the employee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manage stress</a:t>
          </a:r>
          <a:r>
            <a:rPr lang="en-US" sz="2000" b="0" kern="1200">
              <a:solidFill>
                <a:schemeClr val="tx1"/>
              </a:solidFill>
              <a:latin typeface="Tenorite" panose="00000500000000000000" pitchFamily="2" charset="0"/>
            </a:rPr>
            <a:t> and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maintain their wellbeing</a:t>
          </a:r>
          <a:r>
            <a:rPr lang="en-US" sz="1800" b="0" kern="1200">
              <a:solidFill>
                <a:schemeClr val="tx1"/>
              </a:solidFill>
              <a:latin typeface="Tenorite" panose="00000500000000000000" pitchFamily="2" charset="0"/>
            </a:rPr>
            <a:t>.</a:t>
          </a:r>
          <a:endParaRPr lang="pt-PT" sz="1800" b="0" kern="1200">
            <a:solidFill>
              <a:schemeClr val="tx1"/>
            </a:solidFill>
            <a:latin typeface="Tenorite" panose="00000500000000000000" pitchFamily="2" charset="0"/>
          </a:endParaRPr>
        </a:p>
      </dsp:txBody>
      <dsp:txXfrm>
        <a:off x="1217" y="242459"/>
        <a:ext cx="4749578" cy="3305962"/>
      </dsp:txXfrm>
    </dsp:sp>
    <dsp:sp modelId="{23E94732-F878-4531-AADE-3686FE502949}">
      <dsp:nvSpPr>
        <dsp:cNvPr id="0" name=""/>
        <dsp:cNvSpPr/>
      </dsp:nvSpPr>
      <dsp:spPr>
        <a:xfrm>
          <a:off x="5225753" y="249383"/>
          <a:ext cx="4749578" cy="3292113"/>
        </a:xfrm>
        <a:prstGeom prst="rect">
          <a:avLst/>
        </a:prstGeom>
        <a:noFill/>
        <a:ln w="12700" cap="flat" cmpd="sng" algn="ctr">
          <a:solidFill>
            <a:schemeClr val="bg1">
              <a:lumMod val="9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PT" sz="2400" b="1" kern="1200">
              <a:solidFill>
                <a:srgbClr val="3B9EB1">
                  <a:lumMod val="75000"/>
                </a:srgbClr>
              </a:solidFill>
              <a:latin typeface="Tenorite" panose="00000500000000000000" pitchFamily="2" charset="0"/>
              <a:ea typeface="+mn-ea"/>
              <a:cs typeface="+mn-cs"/>
            </a:rPr>
            <a:t>POSITIVE WORK ENVIRONMENT</a:t>
          </a:r>
        </a:p>
        <a:p>
          <a:pPr marL="228600" lvl="1" indent="-228600" algn="l" defTabSz="889000">
            <a:lnSpc>
              <a:spcPct val="90000"/>
            </a:lnSpc>
            <a:spcBef>
              <a:spcPct val="0"/>
            </a:spcBef>
            <a:spcAft>
              <a:spcPct val="15000"/>
            </a:spcAft>
            <a:buFont typeface="Arial" panose="020B0604020202020204" pitchFamily="34" charset="0"/>
            <a:buChar char="•"/>
          </a:pPr>
          <a:r>
            <a:rPr lang="en-US" sz="2000" b="0" kern="1200">
              <a:solidFill>
                <a:schemeClr val="tx1"/>
              </a:solidFill>
              <a:latin typeface="Tenorite" panose="00000500000000000000" pitchFamily="2" charset="0"/>
            </a:rPr>
            <a:t>Build a </a:t>
          </a:r>
          <a:r>
            <a:rPr kumimoji="0" lang="en-US" sz="2000" b="0" i="0" u="none" strike="noStrike" kern="1200" cap="none" spc="50" normalizeH="0" baseline="0">
              <a:ln>
                <a:noFill/>
              </a:ln>
              <a:solidFill>
                <a:srgbClr val="3B9EB1">
                  <a:lumMod val="75000"/>
                </a:srgbClr>
              </a:solidFill>
              <a:effectLst/>
              <a:uLnTx/>
              <a:uFillTx/>
              <a:latin typeface="Tenorite"/>
              <a:ea typeface="+mn-ea"/>
              <a:cs typeface="+mn-cs"/>
            </a:rPr>
            <a:t>positive workplace culture</a:t>
          </a:r>
          <a:r>
            <a:rPr lang="en-US" sz="2000" b="0" kern="1200">
              <a:solidFill>
                <a:schemeClr val="tx1"/>
              </a:solidFill>
              <a:latin typeface="Tenorite" panose="00000500000000000000" pitchFamily="2" charset="0"/>
            </a:rPr>
            <a:t>, which values flexibility, supports personal responsibilities and encourages a good work-life balance. </a:t>
          </a:r>
          <a:endParaRPr lang="pt-PT" sz="2000" b="0" kern="1200">
            <a:solidFill>
              <a:schemeClr val="tx1"/>
            </a:solidFill>
            <a:latin typeface="Tenorite" panose="00000500000000000000" pitchFamily="2" charset="0"/>
          </a:endParaRPr>
        </a:p>
        <a:p>
          <a:pPr marL="228600" lvl="1" indent="-228600" algn="l" defTabSz="889000">
            <a:lnSpc>
              <a:spcPct val="90000"/>
            </a:lnSpc>
            <a:spcBef>
              <a:spcPct val="0"/>
            </a:spcBef>
            <a:spcAft>
              <a:spcPct val="15000"/>
            </a:spcAft>
            <a:buFont typeface="Arial" panose="020B0604020202020204" pitchFamily="34" charset="0"/>
            <a:buChar char="•"/>
          </a:pPr>
          <a:r>
            <a:rPr lang="en-US" sz="2000" b="0" kern="1200">
              <a:solidFill>
                <a:schemeClr val="tx1"/>
              </a:solidFill>
              <a:latin typeface="Tenorite" panose="00000500000000000000" pitchFamily="2" charset="0"/>
            </a:rPr>
            <a:t>Foster open communication, collaboration and respect among employees.</a:t>
          </a:r>
          <a:endParaRPr lang="pt-PT" sz="2000" b="0" kern="1200">
            <a:solidFill>
              <a:schemeClr val="tx1"/>
            </a:solidFill>
            <a:latin typeface="Tenorite" panose="00000500000000000000" pitchFamily="2" charset="0"/>
          </a:endParaRPr>
        </a:p>
      </dsp:txBody>
      <dsp:txXfrm>
        <a:off x="5225753" y="249383"/>
        <a:ext cx="4749578" cy="3292113"/>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3F6ED8B-CF52-4A64-BACC-61D9C1041E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D7022B2-02C5-4E03-99BC-0BA3C57AC49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352A77B-D33C-49B3-A83C-450AA2ED72B3}" type="datetimeFigureOut">
              <a:rPr lang="en-US" smtClean="0"/>
              <a:t>12/11/2023</a:t>
            </a:fld>
            <a:endParaRPr lang="en-US"/>
          </a:p>
        </p:txBody>
      </p:sp>
      <p:sp>
        <p:nvSpPr>
          <p:cNvPr id="4" name="Footer Placeholder 3">
            <a:extLst>
              <a:ext uri="{FF2B5EF4-FFF2-40B4-BE49-F238E27FC236}">
                <a16:creationId xmlns:a16="http://schemas.microsoft.com/office/drawing/2014/main" id="{BC3FEE8C-8D38-4F2A-950E-071C6823E2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C567A6D-959B-4552-AB8D-4CCA819CAA7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BF9A36D-7FAC-478F-9944-F324014F6FD1}" type="slidenum">
              <a:rPr lang="en-US" smtClean="0"/>
              <a:t>‹#›</a:t>
            </a:fld>
            <a:endParaRPr lang="en-US"/>
          </a:p>
        </p:txBody>
      </p:sp>
    </p:spTree>
    <p:extLst>
      <p:ext uri="{BB962C8B-B14F-4D97-AF65-F5344CB8AC3E}">
        <p14:creationId xmlns:p14="http://schemas.microsoft.com/office/powerpoint/2010/main" val="13424676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8D8F9A-F5CB-4EF8-A859-ED5E107B9763}" type="datetimeFigureOut">
              <a:rPr lang="en-US" smtClean="0"/>
              <a:t>12/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B9A9E5-4F7F-4A7D-9DE1-899232329269}" type="slidenum">
              <a:rPr lang="en-US" smtClean="0"/>
              <a:t>‹#›</a:t>
            </a:fld>
            <a:endParaRPr lang="en-US"/>
          </a:p>
        </p:txBody>
      </p:sp>
    </p:spTree>
    <p:extLst>
      <p:ext uri="{BB962C8B-B14F-4D97-AF65-F5344CB8AC3E}">
        <p14:creationId xmlns:p14="http://schemas.microsoft.com/office/powerpoint/2010/main" val="13877831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Precision: Precision is the ratio of correctly predicted positive observations to the total predicted positives. It measures the accuracy of the positive predictions made by the model.</a:t>
            </a:r>
            <a:br>
              <a:rPr lang="en-US" sz="1800">
                <a:effectLst/>
                <a:latin typeface="Segoe UI" panose="020B0502040204020203" pitchFamily="34" charset="0"/>
              </a:rPr>
            </a:br>
            <a:r>
              <a:rPr lang="en-US" sz="1800">
                <a:effectLst/>
                <a:latin typeface="Segoe UI" panose="020B0502040204020203" pitchFamily="34" charset="0"/>
              </a:rPr>
              <a:t>Precision=True Positives/(True Positives + False Positives)</a:t>
            </a:r>
            <a:br>
              <a:rPr lang="en-US" sz="1800">
                <a:effectLst/>
                <a:latin typeface="Segoe UI" panose="020B0502040204020203" pitchFamily="34" charset="0"/>
              </a:rPr>
            </a:br>
            <a:r>
              <a:rPr lang="en-US" sz="1800">
                <a:effectLst/>
                <a:latin typeface="Segoe UI" panose="020B0502040204020203" pitchFamily="34" charset="0"/>
              </a:rPr>
              <a:t>Precision=True Positives + False Positives</a:t>
            </a:r>
            <a:br>
              <a:rPr lang="en-US" sz="1800">
                <a:effectLst/>
                <a:latin typeface="Segoe UI" panose="020B0502040204020203" pitchFamily="34" charset="0"/>
              </a:rPr>
            </a:br>
            <a:br>
              <a:rPr lang="en-US" sz="1800">
                <a:effectLst/>
                <a:latin typeface="Segoe UI" panose="020B0502040204020203" pitchFamily="34" charset="0"/>
              </a:rPr>
            </a:br>
            <a:r>
              <a:rPr lang="en-US" sz="1800">
                <a:effectLst/>
                <a:latin typeface="Segoe UI" panose="020B0502040204020203" pitchFamily="34" charset="0"/>
              </a:rPr>
              <a:t>True Positives</a:t>
            </a:r>
            <a:br>
              <a:rPr lang="en-US" sz="1800">
                <a:effectLst/>
                <a:latin typeface="Segoe UI" panose="020B0502040204020203" pitchFamily="34" charset="0"/>
              </a:rPr>
            </a:br>
            <a:r>
              <a:rPr lang="en-US" sz="1800">
                <a:effectLst/>
                <a:latin typeface="Segoe UI" panose="020B0502040204020203" pitchFamily="34" charset="0"/>
              </a:rPr>
              <a:t>​</a:t>
            </a:r>
            <a:br>
              <a:rPr lang="en-US" sz="1800">
                <a:effectLst/>
                <a:latin typeface="Segoe UI" panose="020B0502040204020203" pitchFamily="34" charset="0"/>
              </a:rPr>
            </a:br>
            <a:r>
              <a:rPr lang="en-US" sz="1800">
                <a:effectLst/>
                <a:latin typeface="Segoe UI" panose="020B0502040204020203" pitchFamily="34" charset="0"/>
              </a:rPr>
              <a:t>Recall (Sensitivity or True Positive Rate): Recall is the ratio of correctly predicted positive observations to the total actual positives. It measures the model's ability to identify all relevant instances.</a:t>
            </a:r>
            <a:br>
              <a:rPr lang="en-US" sz="1800">
                <a:effectLst/>
                <a:latin typeface="Segoe UI" panose="020B0502040204020203" pitchFamily="34" charset="0"/>
              </a:rPr>
            </a:br>
            <a:r>
              <a:rPr lang="en-US" sz="1800">
                <a:effectLst/>
                <a:latin typeface="Segoe UI" panose="020B0502040204020203" pitchFamily="34" charset="0"/>
              </a:rPr>
              <a:t>Recall=True Positives/(True Positives + False Negatives)</a:t>
            </a:r>
            <a:br>
              <a:rPr lang="en-US" sz="1800">
                <a:effectLst/>
                <a:latin typeface="Segoe UI" panose="020B0502040204020203" pitchFamily="34" charset="0"/>
              </a:rPr>
            </a:br>
            <a:r>
              <a:rPr lang="en-US" sz="1800">
                <a:effectLst/>
                <a:latin typeface="Segoe UI" panose="020B0502040204020203" pitchFamily="34" charset="0"/>
              </a:rPr>
              <a:t>Recall=True Positives + False Negatives</a:t>
            </a:r>
            <a:br>
              <a:rPr lang="en-US" sz="1800">
                <a:effectLst/>
                <a:latin typeface="Segoe UI" panose="020B0502040204020203" pitchFamily="34" charset="0"/>
              </a:rPr>
            </a:br>
            <a:br>
              <a:rPr lang="en-US" sz="1800">
                <a:effectLst/>
                <a:latin typeface="Segoe UI" panose="020B0502040204020203" pitchFamily="34" charset="0"/>
              </a:rPr>
            </a:br>
            <a:r>
              <a:rPr lang="en-US" sz="1800">
                <a:effectLst/>
                <a:latin typeface="Segoe UI" panose="020B0502040204020203" pitchFamily="34" charset="0"/>
              </a:rPr>
              <a:t>True Positives</a:t>
            </a:r>
            <a:br>
              <a:rPr lang="en-US" sz="1800">
                <a:effectLst/>
                <a:latin typeface="Segoe UI" panose="020B0502040204020203" pitchFamily="34" charset="0"/>
              </a:rPr>
            </a:br>
            <a:r>
              <a:rPr lang="en-US" sz="1800">
                <a:effectLst/>
                <a:latin typeface="Segoe UI" panose="020B0502040204020203" pitchFamily="34" charset="0"/>
              </a:rPr>
              <a:t>​</a:t>
            </a:r>
            <a:br>
              <a:rPr lang="en-US" sz="1800">
                <a:effectLst/>
                <a:latin typeface="Segoe UI" panose="020B0502040204020203" pitchFamily="34" charset="0"/>
              </a:rPr>
            </a:br>
            <a:r>
              <a:rPr lang="en-US" sz="1800">
                <a:effectLst/>
                <a:latin typeface="Segoe UI" panose="020B0502040204020203" pitchFamily="34" charset="0"/>
              </a:rPr>
              <a:t>The dilemma arises because increasing precision often leads to a decrease in recall, and vice versa. This is particularly evident when adjusting the threshold for classification.</a:t>
            </a:r>
            <a:br>
              <a:rPr lang="en-US" sz="1800">
                <a:effectLst/>
                <a:latin typeface="Segoe UI" panose="020B0502040204020203" pitchFamily="34" charset="0"/>
              </a:rPr>
            </a:br>
            <a:r>
              <a:rPr lang="en-US" sz="1800">
                <a:effectLst/>
                <a:latin typeface="Segoe UI" panose="020B0502040204020203" pitchFamily="34" charset="0"/>
              </a:rPr>
              <a:t>High Precision, Low Recall: Setting a high classification threshold tends to result in fewer positive predictions. However, those predictions are likely to be correct (high precision), but the model may miss many positive</a:t>
            </a:r>
            <a:endParaRPr lang="en-US" sz="1800">
              <a:effectLst/>
              <a:latin typeface="Arial" panose="020B0604020202020204" pitchFamily="34" charset="0"/>
            </a:endParaRPr>
          </a:p>
          <a:p>
            <a:endParaRPr lang="pt-PT"/>
          </a:p>
        </p:txBody>
      </p:sp>
      <p:sp>
        <p:nvSpPr>
          <p:cNvPr id="4" name="Slide Number Placeholder 3"/>
          <p:cNvSpPr>
            <a:spLocks noGrp="1"/>
          </p:cNvSpPr>
          <p:nvPr>
            <p:ph type="sldNum" sz="quarter" idx="5"/>
          </p:nvPr>
        </p:nvSpPr>
        <p:spPr/>
        <p:txBody>
          <a:bodyPr/>
          <a:lstStyle/>
          <a:p>
            <a:fld id="{D4B9A9E5-4F7F-4A7D-9DE1-899232329269}" type="slidenum">
              <a:rPr lang="en-US" smtClean="0"/>
              <a:t>14</a:t>
            </a:fld>
            <a:endParaRPr lang="en-US"/>
          </a:p>
        </p:txBody>
      </p:sp>
    </p:spTree>
    <p:extLst>
      <p:ext uri="{BB962C8B-B14F-4D97-AF65-F5344CB8AC3E}">
        <p14:creationId xmlns:p14="http://schemas.microsoft.com/office/powerpoint/2010/main" val="20513957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EB46B8FB-F6A2-5F47-A6CD-A7E17E69270F}"/>
              </a:ext>
            </a:extLst>
          </p:cNvPr>
          <p:cNvGrpSpPr/>
          <p:nvPr/>
        </p:nvGrpSpPr>
        <p:grpSpPr>
          <a:xfrm>
            <a:off x="6201388" y="0"/>
            <a:ext cx="5990612" cy="6858001"/>
            <a:chOff x="6201388" y="0"/>
            <a:chExt cx="5990612" cy="6858001"/>
          </a:xfrm>
        </p:grpSpPr>
        <p:sp>
          <p:nvSpPr>
            <p:cNvPr id="45" name="Oval 44">
              <a:extLst>
                <a:ext uri="{FF2B5EF4-FFF2-40B4-BE49-F238E27FC236}">
                  <a16:creationId xmlns:a16="http://schemas.microsoft.com/office/drawing/2014/main" id="{419BDE93-3EC2-4E4D-BC0B-417378F49EDA}"/>
                </a:ext>
              </a:extLst>
            </p:cNvPr>
            <p:cNvSpPr/>
            <p:nvPr/>
          </p:nvSpPr>
          <p:spPr>
            <a:xfrm>
              <a:off x="6201388" y="354939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a:extLst>
                <a:ext uri="{FF2B5EF4-FFF2-40B4-BE49-F238E27FC236}">
                  <a16:creationId xmlns:a16="http://schemas.microsoft.com/office/drawing/2014/main" id="{FE21F82F-1EE5-8240-97F8-387DF0253FCE}"/>
                </a:ext>
              </a:extLst>
            </p:cNvPr>
            <p:cNvSpPr/>
            <p:nvPr/>
          </p:nvSpPr>
          <p:spPr>
            <a:xfrm>
              <a:off x="6201389" y="1"/>
              <a:ext cx="1130725" cy="565575"/>
            </a:xfrm>
            <a:custGeom>
              <a:avLst/>
              <a:gdLst>
                <a:gd name="connsiteX0" fmla="*/ 21 w 1130725"/>
                <a:gd name="connsiteY0" fmla="*/ 0 h 565575"/>
                <a:gd name="connsiteX1" fmla="*/ 1130704 w 1130725"/>
                <a:gd name="connsiteY1" fmla="*/ 0 h 565575"/>
                <a:gd name="connsiteX2" fmla="*/ 1130725 w 1130725"/>
                <a:gd name="connsiteY2" fmla="*/ 213 h 565575"/>
                <a:gd name="connsiteX3" fmla="*/ 565362 w 1130725"/>
                <a:gd name="connsiteY3" fmla="*/ 565575 h 565575"/>
                <a:gd name="connsiteX4" fmla="*/ 0 w 1130725"/>
                <a:gd name="connsiteY4" fmla="*/ 213 h 565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5" h="565575">
                  <a:moveTo>
                    <a:pt x="21" y="0"/>
                  </a:moveTo>
                  <a:lnTo>
                    <a:pt x="1130704" y="0"/>
                  </a:lnTo>
                  <a:lnTo>
                    <a:pt x="1130725" y="213"/>
                  </a:lnTo>
                  <a:cubicBezTo>
                    <a:pt x="1130725" y="312454"/>
                    <a:pt x="877604" y="565575"/>
                    <a:pt x="565362" y="565575"/>
                  </a:cubicBezTo>
                  <a:cubicBezTo>
                    <a:pt x="253121" y="565575"/>
                    <a:pt x="0" y="312454"/>
                    <a:pt x="0" y="21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9" name="Freeform 48">
              <a:extLst>
                <a:ext uri="{FF2B5EF4-FFF2-40B4-BE49-F238E27FC236}">
                  <a16:creationId xmlns:a16="http://schemas.microsoft.com/office/drawing/2014/main" id="{AE1903E3-6B5F-6B4C-9A1F-62628A050AEB}"/>
                </a:ext>
              </a:extLst>
            </p:cNvPr>
            <p:cNvSpPr/>
            <p:nvPr/>
          </p:nvSpPr>
          <p:spPr>
            <a:xfrm>
              <a:off x="7564255" y="6292426"/>
              <a:ext cx="1130723" cy="565575"/>
            </a:xfrm>
            <a:custGeom>
              <a:avLst/>
              <a:gdLst>
                <a:gd name="connsiteX0" fmla="*/ 565362 w 1130723"/>
                <a:gd name="connsiteY0" fmla="*/ 0 h 565575"/>
                <a:gd name="connsiteX1" fmla="*/ 1130723 w 1130723"/>
                <a:gd name="connsiteY1" fmla="*/ 565362 h 565575"/>
                <a:gd name="connsiteX2" fmla="*/ 1130702 w 1130723"/>
                <a:gd name="connsiteY2" fmla="*/ 565575 h 565575"/>
                <a:gd name="connsiteX3" fmla="*/ 21 w 1130723"/>
                <a:gd name="connsiteY3" fmla="*/ 565575 h 565575"/>
                <a:gd name="connsiteX4" fmla="*/ 0 w 1130723"/>
                <a:gd name="connsiteY4" fmla="*/ 565362 h 565575"/>
                <a:gd name="connsiteX5" fmla="*/ 565362 w 1130723"/>
                <a:gd name="connsiteY5" fmla="*/ 0 h 56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723" h="565575">
                  <a:moveTo>
                    <a:pt x="565362" y="0"/>
                  </a:moveTo>
                  <a:cubicBezTo>
                    <a:pt x="877602" y="0"/>
                    <a:pt x="1130723" y="253121"/>
                    <a:pt x="1130723" y="565362"/>
                  </a:cubicBezTo>
                  <a:lnTo>
                    <a:pt x="1130702" y="565575"/>
                  </a:lnTo>
                  <a:lnTo>
                    <a:pt x="21" y="565575"/>
                  </a:lnTo>
                  <a:lnTo>
                    <a:pt x="0" y="565362"/>
                  </a:lnTo>
                  <a:cubicBezTo>
                    <a:pt x="0" y="253121"/>
                    <a:pt x="253120" y="0"/>
                    <a:pt x="56536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 name="Oval 50">
              <a:extLst>
                <a:ext uri="{FF2B5EF4-FFF2-40B4-BE49-F238E27FC236}">
                  <a16:creationId xmlns:a16="http://schemas.microsoft.com/office/drawing/2014/main" id="{F7C55863-3B37-0743-B001-1A970033FBA8}"/>
                </a:ext>
              </a:extLst>
            </p:cNvPr>
            <p:cNvSpPr/>
            <p:nvPr/>
          </p:nvSpPr>
          <p:spPr>
            <a:xfrm>
              <a:off x="7564253" y="354939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932B4C24-3A58-924C-B79A-D961EF7C2C48}"/>
                </a:ext>
              </a:extLst>
            </p:cNvPr>
            <p:cNvSpPr/>
            <p:nvPr/>
          </p:nvSpPr>
          <p:spPr>
            <a:xfrm>
              <a:off x="7564253" y="2177881"/>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21EF52E0-D2CF-544F-93A6-4D7B45A0483A}"/>
                </a:ext>
              </a:extLst>
            </p:cNvPr>
            <p:cNvSpPr/>
            <p:nvPr/>
          </p:nvSpPr>
          <p:spPr>
            <a:xfrm>
              <a:off x="7564253" y="806366"/>
              <a:ext cx="1130725" cy="11307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63">
              <a:extLst>
                <a:ext uri="{FF2B5EF4-FFF2-40B4-BE49-F238E27FC236}">
                  <a16:creationId xmlns:a16="http://schemas.microsoft.com/office/drawing/2014/main" id="{6966CFE5-1C8C-2E4F-9B2D-A8438F5A5322}"/>
                </a:ext>
              </a:extLst>
            </p:cNvPr>
            <p:cNvSpPr/>
            <p:nvPr/>
          </p:nvSpPr>
          <p:spPr>
            <a:xfrm>
              <a:off x="7564254" y="1"/>
              <a:ext cx="1130725" cy="565575"/>
            </a:xfrm>
            <a:custGeom>
              <a:avLst/>
              <a:gdLst>
                <a:gd name="connsiteX0" fmla="*/ 21 w 1130725"/>
                <a:gd name="connsiteY0" fmla="*/ 0 h 565575"/>
                <a:gd name="connsiteX1" fmla="*/ 1130704 w 1130725"/>
                <a:gd name="connsiteY1" fmla="*/ 0 h 565575"/>
                <a:gd name="connsiteX2" fmla="*/ 1130725 w 1130725"/>
                <a:gd name="connsiteY2" fmla="*/ 213 h 565575"/>
                <a:gd name="connsiteX3" fmla="*/ 565363 w 1130725"/>
                <a:gd name="connsiteY3" fmla="*/ 565575 h 565575"/>
                <a:gd name="connsiteX4" fmla="*/ 0 w 1130725"/>
                <a:gd name="connsiteY4" fmla="*/ 213 h 565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5" h="565575">
                  <a:moveTo>
                    <a:pt x="21" y="0"/>
                  </a:moveTo>
                  <a:lnTo>
                    <a:pt x="1130704" y="0"/>
                  </a:lnTo>
                  <a:lnTo>
                    <a:pt x="1130725" y="213"/>
                  </a:lnTo>
                  <a:cubicBezTo>
                    <a:pt x="1130725" y="312454"/>
                    <a:pt x="877603" y="565575"/>
                    <a:pt x="565363" y="565575"/>
                  </a:cubicBezTo>
                  <a:cubicBezTo>
                    <a:pt x="253121" y="565575"/>
                    <a:pt x="0" y="312454"/>
                    <a:pt x="0" y="21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5" name="Freeform 64">
              <a:extLst>
                <a:ext uri="{FF2B5EF4-FFF2-40B4-BE49-F238E27FC236}">
                  <a16:creationId xmlns:a16="http://schemas.microsoft.com/office/drawing/2014/main" id="{9FD29EF3-A5B2-554A-A307-6BE1BCE8AF03}"/>
                </a:ext>
              </a:extLst>
            </p:cNvPr>
            <p:cNvSpPr/>
            <p:nvPr/>
          </p:nvSpPr>
          <p:spPr>
            <a:xfrm>
              <a:off x="8927118" y="6292426"/>
              <a:ext cx="1130724" cy="565575"/>
            </a:xfrm>
            <a:custGeom>
              <a:avLst/>
              <a:gdLst>
                <a:gd name="connsiteX0" fmla="*/ 565362 w 1130724"/>
                <a:gd name="connsiteY0" fmla="*/ 0 h 565575"/>
                <a:gd name="connsiteX1" fmla="*/ 1130724 w 1130724"/>
                <a:gd name="connsiteY1" fmla="*/ 565362 h 565575"/>
                <a:gd name="connsiteX2" fmla="*/ 1130703 w 1130724"/>
                <a:gd name="connsiteY2" fmla="*/ 565575 h 565575"/>
                <a:gd name="connsiteX3" fmla="*/ 22 w 1130724"/>
                <a:gd name="connsiteY3" fmla="*/ 565575 h 565575"/>
                <a:gd name="connsiteX4" fmla="*/ 0 w 1130724"/>
                <a:gd name="connsiteY4" fmla="*/ 565362 h 565575"/>
                <a:gd name="connsiteX5" fmla="*/ 565362 w 1130724"/>
                <a:gd name="connsiteY5" fmla="*/ 0 h 56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724" h="565575">
                  <a:moveTo>
                    <a:pt x="565362" y="0"/>
                  </a:moveTo>
                  <a:cubicBezTo>
                    <a:pt x="877603" y="0"/>
                    <a:pt x="1130724" y="253121"/>
                    <a:pt x="1130724" y="565362"/>
                  </a:cubicBezTo>
                  <a:lnTo>
                    <a:pt x="1130703" y="565575"/>
                  </a:lnTo>
                  <a:lnTo>
                    <a:pt x="22" y="565575"/>
                  </a:lnTo>
                  <a:lnTo>
                    <a:pt x="0" y="565362"/>
                  </a:lnTo>
                  <a:cubicBezTo>
                    <a:pt x="0" y="253121"/>
                    <a:pt x="253121" y="0"/>
                    <a:pt x="56536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7" name="Oval 66">
              <a:extLst>
                <a:ext uri="{FF2B5EF4-FFF2-40B4-BE49-F238E27FC236}">
                  <a16:creationId xmlns:a16="http://schemas.microsoft.com/office/drawing/2014/main" id="{AC1ECAD8-0CF2-934D-AA1E-C108208CDE6F}"/>
                </a:ext>
              </a:extLst>
            </p:cNvPr>
            <p:cNvSpPr/>
            <p:nvPr/>
          </p:nvSpPr>
          <p:spPr>
            <a:xfrm>
              <a:off x="8927118" y="4920911"/>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DB14DED1-3A58-8C4D-902E-2A9F34043F61}"/>
                </a:ext>
              </a:extLst>
            </p:cNvPr>
            <p:cNvSpPr/>
            <p:nvPr/>
          </p:nvSpPr>
          <p:spPr>
            <a:xfrm>
              <a:off x="8927118" y="3549396"/>
              <a:ext cx="1130725" cy="11307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65D65157-5719-0341-A807-A8956595FB4C}"/>
                </a:ext>
              </a:extLst>
            </p:cNvPr>
            <p:cNvSpPr/>
            <p:nvPr/>
          </p:nvSpPr>
          <p:spPr>
            <a:xfrm>
              <a:off x="8927118" y="2177881"/>
              <a:ext cx="1130725" cy="11307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A7F23F74-B777-2A4C-8EF9-E798880D5942}"/>
                </a:ext>
              </a:extLst>
            </p:cNvPr>
            <p:cNvSpPr/>
            <p:nvPr/>
          </p:nvSpPr>
          <p:spPr>
            <a:xfrm>
              <a:off x="8927118" y="80636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reeform 70">
              <a:extLst>
                <a:ext uri="{FF2B5EF4-FFF2-40B4-BE49-F238E27FC236}">
                  <a16:creationId xmlns:a16="http://schemas.microsoft.com/office/drawing/2014/main" id="{E3B9A050-0AE1-1D4B-A2AC-6EEF64B106D9}"/>
                </a:ext>
              </a:extLst>
            </p:cNvPr>
            <p:cNvSpPr/>
            <p:nvPr/>
          </p:nvSpPr>
          <p:spPr>
            <a:xfrm>
              <a:off x="8927117" y="0"/>
              <a:ext cx="1130726" cy="565576"/>
            </a:xfrm>
            <a:custGeom>
              <a:avLst/>
              <a:gdLst>
                <a:gd name="connsiteX0" fmla="*/ 22 w 1130726"/>
                <a:gd name="connsiteY0" fmla="*/ 0 h 565576"/>
                <a:gd name="connsiteX1" fmla="*/ 1130704 w 1130726"/>
                <a:gd name="connsiteY1" fmla="*/ 0 h 565576"/>
                <a:gd name="connsiteX2" fmla="*/ 1130726 w 1130726"/>
                <a:gd name="connsiteY2" fmla="*/ 214 h 565576"/>
                <a:gd name="connsiteX3" fmla="*/ 565363 w 1130726"/>
                <a:gd name="connsiteY3" fmla="*/ 565576 h 565576"/>
                <a:gd name="connsiteX4" fmla="*/ 0 w 1130726"/>
                <a:gd name="connsiteY4" fmla="*/ 214 h 56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6" h="565576">
                  <a:moveTo>
                    <a:pt x="22" y="0"/>
                  </a:moveTo>
                  <a:lnTo>
                    <a:pt x="1130704" y="0"/>
                  </a:lnTo>
                  <a:lnTo>
                    <a:pt x="1130726" y="214"/>
                  </a:lnTo>
                  <a:cubicBezTo>
                    <a:pt x="1130726" y="312455"/>
                    <a:pt x="877604" y="565576"/>
                    <a:pt x="565363" y="565576"/>
                  </a:cubicBezTo>
                  <a:cubicBezTo>
                    <a:pt x="253122" y="565576"/>
                    <a:pt x="0" y="312455"/>
                    <a:pt x="0" y="21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2" name="Freeform 71">
              <a:extLst>
                <a:ext uri="{FF2B5EF4-FFF2-40B4-BE49-F238E27FC236}">
                  <a16:creationId xmlns:a16="http://schemas.microsoft.com/office/drawing/2014/main" id="{C424FE38-F803-8D47-BF56-1B18EC2B1F03}"/>
                </a:ext>
              </a:extLst>
            </p:cNvPr>
            <p:cNvSpPr/>
            <p:nvPr/>
          </p:nvSpPr>
          <p:spPr>
            <a:xfrm>
              <a:off x="10289984" y="6292426"/>
              <a:ext cx="1130724" cy="565575"/>
            </a:xfrm>
            <a:custGeom>
              <a:avLst/>
              <a:gdLst>
                <a:gd name="connsiteX0" fmla="*/ 565362 w 1130724"/>
                <a:gd name="connsiteY0" fmla="*/ 0 h 565575"/>
                <a:gd name="connsiteX1" fmla="*/ 1130724 w 1130724"/>
                <a:gd name="connsiteY1" fmla="*/ 565362 h 565575"/>
                <a:gd name="connsiteX2" fmla="*/ 1130703 w 1130724"/>
                <a:gd name="connsiteY2" fmla="*/ 565575 h 565575"/>
                <a:gd name="connsiteX3" fmla="*/ 21 w 1130724"/>
                <a:gd name="connsiteY3" fmla="*/ 565575 h 565575"/>
                <a:gd name="connsiteX4" fmla="*/ 0 w 1130724"/>
                <a:gd name="connsiteY4" fmla="*/ 565362 h 565575"/>
                <a:gd name="connsiteX5" fmla="*/ 565362 w 1130724"/>
                <a:gd name="connsiteY5" fmla="*/ 0 h 56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724" h="565575">
                  <a:moveTo>
                    <a:pt x="565362" y="0"/>
                  </a:moveTo>
                  <a:cubicBezTo>
                    <a:pt x="877603" y="0"/>
                    <a:pt x="1130724" y="253121"/>
                    <a:pt x="1130724" y="565362"/>
                  </a:cubicBezTo>
                  <a:lnTo>
                    <a:pt x="1130703" y="565575"/>
                  </a:lnTo>
                  <a:lnTo>
                    <a:pt x="21" y="565575"/>
                  </a:lnTo>
                  <a:lnTo>
                    <a:pt x="0" y="565362"/>
                  </a:lnTo>
                  <a:cubicBezTo>
                    <a:pt x="0" y="253121"/>
                    <a:pt x="253121" y="0"/>
                    <a:pt x="56536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3" name="Oval 72">
              <a:extLst>
                <a:ext uri="{FF2B5EF4-FFF2-40B4-BE49-F238E27FC236}">
                  <a16:creationId xmlns:a16="http://schemas.microsoft.com/office/drawing/2014/main" id="{E37187F2-9212-0641-97D0-1ACD50B748A8}"/>
                </a:ext>
              </a:extLst>
            </p:cNvPr>
            <p:cNvSpPr/>
            <p:nvPr/>
          </p:nvSpPr>
          <p:spPr>
            <a:xfrm>
              <a:off x="10289984" y="4920911"/>
              <a:ext cx="1130725" cy="11307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C760C651-2AC4-564E-BEAA-AB7FAFE7F79F}"/>
                </a:ext>
              </a:extLst>
            </p:cNvPr>
            <p:cNvSpPr/>
            <p:nvPr/>
          </p:nvSpPr>
          <p:spPr>
            <a:xfrm>
              <a:off x="10289984" y="354939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58B0A1B8-5BA3-3548-9511-B4904D05264B}"/>
                </a:ext>
              </a:extLst>
            </p:cNvPr>
            <p:cNvSpPr/>
            <p:nvPr/>
          </p:nvSpPr>
          <p:spPr>
            <a:xfrm>
              <a:off x="10289984" y="80636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75">
              <a:extLst>
                <a:ext uri="{FF2B5EF4-FFF2-40B4-BE49-F238E27FC236}">
                  <a16:creationId xmlns:a16="http://schemas.microsoft.com/office/drawing/2014/main" id="{424CD779-EE9A-214D-9488-767327E373AA}"/>
                </a:ext>
              </a:extLst>
            </p:cNvPr>
            <p:cNvSpPr/>
            <p:nvPr/>
          </p:nvSpPr>
          <p:spPr>
            <a:xfrm>
              <a:off x="10289983" y="0"/>
              <a:ext cx="1130726" cy="565576"/>
            </a:xfrm>
            <a:custGeom>
              <a:avLst/>
              <a:gdLst>
                <a:gd name="connsiteX0" fmla="*/ 21 w 1130726"/>
                <a:gd name="connsiteY0" fmla="*/ 0 h 565576"/>
                <a:gd name="connsiteX1" fmla="*/ 1130704 w 1130726"/>
                <a:gd name="connsiteY1" fmla="*/ 0 h 565576"/>
                <a:gd name="connsiteX2" fmla="*/ 1130726 w 1130726"/>
                <a:gd name="connsiteY2" fmla="*/ 214 h 565576"/>
                <a:gd name="connsiteX3" fmla="*/ 565363 w 1130726"/>
                <a:gd name="connsiteY3" fmla="*/ 565576 h 565576"/>
                <a:gd name="connsiteX4" fmla="*/ 0 w 1130726"/>
                <a:gd name="connsiteY4" fmla="*/ 214 h 56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6" h="565576">
                  <a:moveTo>
                    <a:pt x="21" y="0"/>
                  </a:moveTo>
                  <a:lnTo>
                    <a:pt x="1130704" y="0"/>
                  </a:lnTo>
                  <a:lnTo>
                    <a:pt x="1130726" y="214"/>
                  </a:lnTo>
                  <a:cubicBezTo>
                    <a:pt x="1130726" y="312455"/>
                    <a:pt x="877604" y="565576"/>
                    <a:pt x="565363" y="565576"/>
                  </a:cubicBezTo>
                  <a:cubicBezTo>
                    <a:pt x="253122" y="565576"/>
                    <a:pt x="0" y="312455"/>
                    <a:pt x="0" y="214"/>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7" name="Freeform 76">
              <a:extLst>
                <a:ext uri="{FF2B5EF4-FFF2-40B4-BE49-F238E27FC236}">
                  <a16:creationId xmlns:a16="http://schemas.microsoft.com/office/drawing/2014/main" id="{630D08C6-9EFB-8540-875F-2A55DED2AAE3}"/>
                </a:ext>
              </a:extLst>
            </p:cNvPr>
            <p:cNvSpPr/>
            <p:nvPr/>
          </p:nvSpPr>
          <p:spPr>
            <a:xfrm>
              <a:off x="11652854" y="6295069"/>
              <a:ext cx="539146" cy="562931"/>
            </a:xfrm>
            <a:custGeom>
              <a:avLst/>
              <a:gdLst>
                <a:gd name="connsiteX0" fmla="*/ 539146 w 539146"/>
                <a:gd name="connsiteY0" fmla="*/ 0 h 562931"/>
                <a:gd name="connsiteX1" fmla="*/ 539146 w 539146"/>
                <a:gd name="connsiteY1" fmla="*/ 562931 h 562931"/>
                <a:gd name="connsiteX2" fmla="*/ 21 w 539146"/>
                <a:gd name="connsiteY2" fmla="*/ 562931 h 562931"/>
                <a:gd name="connsiteX3" fmla="*/ 0 w 539146"/>
                <a:gd name="connsiteY3" fmla="*/ 562719 h 562931"/>
                <a:gd name="connsiteX4" fmla="*/ 451422 w 539146"/>
                <a:gd name="connsiteY4" fmla="*/ 8843 h 562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6" h="562931">
                  <a:moveTo>
                    <a:pt x="539146" y="0"/>
                  </a:moveTo>
                  <a:lnTo>
                    <a:pt x="539146" y="562931"/>
                  </a:lnTo>
                  <a:lnTo>
                    <a:pt x="21" y="562931"/>
                  </a:lnTo>
                  <a:lnTo>
                    <a:pt x="0" y="562719"/>
                  </a:lnTo>
                  <a:cubicBezTo>
                    <a:pt x="0" y="289508"/>
                    <a:pt x="193796" y="61561"/>
                    <a:pt x="451422" y="884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8" name="Freeform 77">
              <a:extLst>
                <a:ext uri="{FF2B5EF4-FFF2-40B4-BE49-F238E27FC236}">
                  <a16:creationId xmlns:a16="http://schemas.microsoft.com/office/drawing/2014/main" id="{D7E8DA86-1294-4641-9C52-6E153150641C}"/>
                </a:ext>
              </a:extLst>
            </p:cNvPr>
            <p:cNvSpPr/>
            <p:nvPr/>
          </p:nvSpPr>
          <p:spPr>
            <a:xfrm>
              <a:off x="11652853" y="4923555"/>
              <a:ext cx="539147" cy="1125439"/>
            </a:xfrm>
            <a:custGeom>
              <a:avLst/>
              <a:gdLst>
                <a:gd name="connsiteX0" fmla="*/ 539147 w 539147"/>
                <a:gd name="connsiteY0" fmla="*/ 0 h 1125439"/>
                <a:gd name="connsiteX1" fmla="*/ 539147 w 539147"/>
                <a:gd name="connsiteY1" fmla="*/ 1125439 h 1125439"/>
                <a:gd name="connsiteX2" fmla="*/ 451423 w 539147"/>
                <a:gd name="connsiteY2" fmla="*/ 1116595 h 1125439"/>
                <a:gd name="connsiteX3" fmla="*/ 0 w 539147"/>
                <a:gd name="connsiteY3" fmla="*/ 562719 h 1125439"/>
                <a:gd name="connsiteX4" fmla="*/ 451423 w 539147"/>
                <a:gd name="connsiteY4" fmla="*/ 8843 h 1125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1125439">
                  <a:moveTo>
                    <a:pt x="539147" y="0"/>
                  </a:moveTo>
                  <a:lnTo>
                    <a:pt x="539147" y="1125439"/>
                  </a:lnTo>
                  <a:lnTo>
                    <a:pt x="451423" y="1116595"/>
                  </a:lnTo>
                  <a:cubicBezTo>
                    <a:pt x="193797" y="1063877"/>
                    <a:pt x="0" y="835930"/>
                    <a:pt x="0" y="562719"/>
                  </a:cubicBezTo>
                  <a:cubicBezTo>
                    <a:pt x="0" y="289508"/>
                    <a:pt x="193797" y="61561"/>
                    <a:pt x="451423" y="884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9" name="Freeform 78">
              <a:extLst>
                <a:ext uri="{FF2B5EF4-FFF2-40B4-BE49-F238E27FC236}">
                  <a16:creationId xmlns:a16="http://schemas.microsoft.com/office/drawing/2014/main" id="{011063C9-2A43-3348-A018-F27FACAA778D}"/>
                </a:ext>
              </a:extLst>
            </p:cNvPr>
            <p:cNvSpPr/>
            <p:nvPr/>
          </p:nvSpPr>
          <p:spPr>
            <a:xfrm>
              <a:off x="11652853" y="3552039"/>
              <a:ext cx="539147" cy="1125438"/>
            </a:xfrm>
            <a:custGeom>
              <a:avLst/>
              <a:gdLst>
                <a:gd name="connsiteX0" fmla="*/ 539147 w 539147"/>
                <a:gd name="connsiteY0" fmla="*/ 0 h 1125438"/>
                <a:gd name="connsiteX1" fmla="*/ 539147 w 539147"/>
                <a:gd name="connsiteY1" fmla="*/ 1125438 h 1125438"/>
                <a:gd name="connsiteX2" fmla="*/ 451423 w 539147"/>
                <a:gd name="connsiteY2" fmla="*/ 1116595 h 1125438"/>
                <a:gd name="connsiteX3" fmla="*/ 0 w 539147"/>
                <a:gd name="connsiteY3" fmla="*/ 562719 h 1125438"/>
                <a:gd name="connsiteX4" fmla="*/ 451423 w 539147"/>
                <a:gd name="connsiteY4" fmla="*/ 8843 h 1125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1125438">
                  <a:moveTo>
                    <a:pt x="539147" y="0"/>
                  </a:moveTo>
                  <a:lnTo>
                    <a:pt x="539147" y="1125438"/>
                  </a:lnTo>
                  <a:lnTo>
                    <a:pt x="451423" y="1116595"/>
                  </a:lnTo>
                  <a:cubicBezTo>
                    <a:pt x="193797" y="1063877"/>
                    <a:pt x="0" y="835930"/>
                    <a:pt x="0" y="562719"/>
                  </a:cubicBezTo>
                  <a:cubicBezTo>
                    <a:pt x="0" y="289508"/>
                    <a:pt x="193797" y="61561"/>
                    <a:pt x="451423" y="884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0" name="Freeform 79">
              <a:extLst>
                <a:ext uri="{FF2B5EF4-FFF2-40B4-BE49-F238E27FC236}">
                  <a16:creationId xmlns:a16="http://schemas.microsoft.com/office/drawing/2014/main" id="{EE85C7DE-D965-244F-BD95-3A05FF4AAC61}"/>
                </a:ext>
              </a:extLst>
            </p:cNvPr>
            <p:cNvSpPr/>
            <p:nvPr/>
          </p:nvSpPr>
          <p:spPr>
            <a:xfrm>
              <a:off x="11652853" y="2180524"/>
              <a:ext cx="539147" cy="1125438"/>
            </a:xfrm>
            <a:custGeom>
              <a:avLst/>
              <a:gdLst>
                <a:gd name="connsiteX0" fmla="*/ 539147 w 539147"/>
                <a:gd name="connsiteY0" fmla="*/ 0 h 1125438"/>
                <a:gd name="connsiteX1" fmla="*/ 539147 w 539147"/>
                <a:gd name="connsiteY1" fmla="*/ 1125438 h 1125438"/>
                <a:gd name="connsiteX2" fmla="*/ 451423 w 539147"/>
                <a:gd name="connsiteY2" fmla="*/ 1116595 h 1125438"/>
                <a:gd name="connsiteX3" fmla="*/ 0 w 539147"/>
                <a:gd name="connsiteY3" fmla="*/ 562719 h 1125438"/>
                <a:gd name="connsiteX4" fmla="*/ 451423 w 539147"/>
                <a:gd name="connsiteY4" fmla="*/ 8843 h 1125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1125438">
                  <a:moveTo>
                    <a:pt x="539147" y="0"/>
                  </a:moveTo>
                  <a:lnTo>
                    <a:pt x="539147" y="1125438"/>
                  </a:lnTo>
                  <a:lnTo>
                    <a:pt x="451423" y="1116595"/>
                  </a:lnTo>
                  <a:cubicBezTo>
                    <a:pt x="193797" y="1063877"/>
                    <a:pt x="0" y="835930"/>
                    <a:pt x="0" y="562719"/>
                  </a:cubicBezTo>
                  <a:cubicBezTo>
                    <a:pt x="0" y="289509"/>
                    <a:pt x="193797" y="61561"/>
                    <a:pt x="451423" y="884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1" name="Freeform 80">
              <a:extLst>
                <a:ext uri="{FF2B5EF4-FFF2-40B4-BE49-F238E27FC236}">
                  <a16:creationId xmlns:a16="http://schemas.microsoft.com/office/drawing/2014/main" id="{315A1389-149A-3342-A863-637D42FDB28D}"/>
                </a:ext>
              </a:extLst>
            </p:cNvPr>
            <p:cNvSpPr/>
            <p:nvPr/>
          </p:nvSpPr>
          <p:spPr>
            <a:xfrm>
              <a:off x="11652853" y="809010"/>
              <a:ext cx="539147" cy="1125439"/>
            </a:xfrm>
            <a:custGeom>
              <a:avLst/>
              <a:gdLst>
                <a:gd name="connsiteX0" fmla="*/ 539147 w 539147"/>
                <a:gd name="connsiteY0" fmla="*/ 0 h 1125439"/>
                <a:gd name="connsiteX1" fmla="*/ 539147 w 539147"/>
                <a:gd name="connsiteY1" fmla="*/ 1125439 h 1125439"/>
                <a:gd name="connsiteX2" fmla="*/ 451423 w 539147"/>
                <a:gd name="connsiteY2" fmla="*/ 1116595 h 1125439"/>
                <a:gd name="connsiteX3" fmla="*/ 0 w 539147"/>
                <a:gd name="connsiteY3" fmla="*/ 562719 h 1125439"/>
                <a:gd name="connsiteX4" fmla="*/ 451423 w 539147"/>
                <a:gd name="connsiteY4" fmla="*/ 8843 h 1125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1125439">
                  <a:moveTo>
                    <a:pt x="539147" y="0"/>
                  </a:moveTo>
                  <a:lnTo>
                    <a:pt x="539147" y="1125439"/>
                  </a:lnTo>
                  <a:lnTo>
                    <a:pt x="451423" y="1116595"/>
                  </a:lnTo>
                  <a:cubicBezTo>
                    <a:pt x="193797" y="1063877"/>
                    <a:pt x="0" y="835930"/>
                    <a:pt x="0" y="562719"/>
                  </a:cubicBezTo>
                  <a:cubicBezTo>
                    <a:pt x="0" y="289508"/>
                    <a:pt x="193797" y="61561"/>
                    <a:pt x="451423" y="884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2" name="Freeform 81">
              <a:extLst>
                <a:ext uri="{FF2B5EF4-FFF2-40B4-BE49-F238E27FC236}">
                  <a16:creationId xmlns:a16="http://schemas.microsoft.com/office/drawing/2014/main" id="{B149CC6F-B6C6-BE46-B451-1BF7D47A8936}"/>
                </a:ext>
              </a:extLst>
            </p:cNvPr>
            <p:cNvSpPr/>
            <p:nvPr/>
          </p:nvSpPr>
          <p:spPr>
            <a:xfrm>
              <a:off x="11652853" y="1"/>
              <a:ext cx="539147" cy="562933"/>
            </a:xfrm>
            <a:custGeom>
              <a:avLst/>
              <a:gdLst>
                <a:gd name="connsiteX0" fmla="*/ 22 w 539147"/>
                <a:gd name="connsiteY0" fmla="*/ 0 h 562933"/>
                <a:gd name="connsiteX1" fmla="*/ 539147 w 539147"/>
                <a:gd name="connsiteY1" fmla="*/ 0 h 562933"/>
                <a:gd name="connsiteX2" fmla="*/ 539147 w 539147"/>
                <a:gd name="connsiteY2" fmla="*/ 562933 h 562933"/>
                <a:gd name="connsiteX3" fmla="*/ 451423 w 539147"/>
                <a:gd name="connsiteY3" fmla="*/ 554090 h 562933"/>
                <a:gd name="connsiteX4" fmla="*/ 0 w 539147"/>
                <a:gd name="connsiteY4" fmla="*/ 214 h 562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562933">
                  <a:moveTo>
                    <a:pt x="22" y="0"/>
                  </a:moveTo>
                  <a:lnTo>
                    <a:pt x="539147" y="0"/>
                  </a:lnTo>
                  <a:lnTo>
                    <a:pt x="539147" y="562933"/>
                  </a:lnTo>
                  <a:lnTo>
                    <a:pt x="451423" y="554090"/>
                  </a:lnTo>
                  <a:cubicBezTo>
                    <a:pt x="193797" y="501372"/>
                    <a:pt x="0" y="273425"/>
                    <a:pt x="0" y="214"/>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CDAB39E9-6F50-3F4B-9DDB-FC0E0CA993A6}"/>
              </a:ext>
            </a:extLst>
          </p:cNvPr>
          <p:cNvSpPr>
            <a:spLocks noGrp="1"/>
          </p:cNvSpPr>
          <p:nvPr>
            <p:ph type="ctrTitle"/>
          </p:nvPr>
        </p:nvSpPr>
        <p:spPr>
          <a:xfrm>
            <a:off x="565150" y="768334"/>
            <a:ext cx="5066001" cy="2866405"/>
          </a:xfrm>
        </p:spPr>
        <p:txBody>
          <a:bodyPr anchor="t"/>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A6B2C33E-E9A6-304D-BBCB-97AD0B213CE0}"/>
              </a:ext>
            </a:extLst>
          </p:cNvPr>
          <p:cNvSpPr>
            <a:spLocks noGrp="1"/>
          </p:cNvSpPr>
          <p:nvPr>
            <p:ph type="subTitle" idx="1"/>
          </p:nvPr>
        </p:nvSpPr>
        <p:spPr>
          <a:xfrm>
            <a:off x="565150" y="4283239"/>
            <a:ext cx="5066001" cy="1475177"/>
          </a:xfrm>
        </p:spPr>
        <p:txBody>
          <a:bodyPr anchor="b"/>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29C75C4-E533-BE48-B528-D1A278BC39A3}"/>
              </a:ext>
            </a:extLst>
          </p:cNvPr>
          <p:cNvSpPr>
            <a:spLocks noGrp="1"/>
          </p:cNvSpPr>
          <p:nvPr>
            <p:ph type="dt" sz="half" idx="10"/>
          </p:nvPr>
        </p:nvSpPr>
        <p:spPr>
          <a:xfrm>
            <a:off x="566928" y="457200"/>
            <a:ext cx="3608205" cy="365125"/>
          </a:xfrm>
        </p:spPr>
        <p:txBody>
          <a:bodyPr/>
          <a:lstStyle>
            <a:lvl1pPr algn="l">
              <a:defRPr/>
            </a:lvl1pPr>
          </a:lstStyle>
          <a:p>
            <a:pPr algn="l"/>
            <a:fld id="{ACEA65FE-F7B5-48FA-8A1C-E4D83496607E}" type="datetime1">
              <a:rPr lang="en-US" smtClean="0"/>
              <a:t>12/11/2023</a:t>
            </a:fld>
            <a:endParaRPr lang="en-US"/>
          </a:p>
        </p:txBody>
      </p:sp>
      <p:sp>
        <p:nvSpPr>
          <p:cNvPr id="5" name="Footer Placeholder 4">
            <a:extLst>
              <a:ext uri="{FF2B5EF4-FFF2-40B4-BE49-F238E27FC236}">
                <a16:creationId xmlns:a16="http://schemas.microsoft.com/office/drawing/2014/main" id="{8F09BA8A-EF83-434D-A90E-0805D1104A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CFDDE0-90B9-AD4E-B0EB-E7464FA9CDF2}"/>
              </a:ext>
            </a:extLst>
          </p:cNvPr>
          <p:cNvSpPr>
            <a:spLocks noGrp="1"/>
          </p:cNvSpPr>
          <p:nvPr>
            <p:ph type="sldNum" sz="quarter" idx="12"/>
          </p:nvPr>
        </p:nvSpPr>
        <p:spPr>
          <a:xfrm>
            <a:off x="4817335" y="6141085"/>
            <a:ext cx="813816" cy="365125"/>
          </a:xfrm>
        </p:spPr>
        <p:txBody>
          <a:bodyPr/>
          <a:lstStyle/>
          <a:p>
            <a:fld id="{49ABCAEC-7D34-E549-A96E-FCEDAADBE4B0}" type="slidenum">
              <a:rPr lang="en-US" smtClean="0"/>
              <a:t>‹#›</a:t>
            </a:fld>
            <a:endParaRPr lang="en-US"/>
          </a:p>
        </p:txBody>
      </p:sp>
      <p:cxnSp>
        <p:nvCxnSpPr>
          <p:cNvPr id="7" name="Straight Connector 6">
            <a:extLst>
              <a:ext uri="{FF2B5EF4-FFF2-40B4-BE49-F238E27FC236}">
                <a16:creationId xmlns:a16="http://schemas.microsoft.com/office/drawing/2014/main" id="{D33A3282-0389-C547-8CA6-7F3E7F27B34D}"/>
              </a:ext>
            </a:extLst>
          </p:cNvPr>
          <p:cNvCxnSpPr>
            <a:cxnSpLocks/>
          </p:cNvCxnSpPr>
          <p:nvPr/>
        </p:nvCxnSpPr>
        <p:spPr>
          <a:xfrm>
            <a:off x="565150" y="6087110"/>
            <a:ext cx="5066001"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2953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7ED46EE4-CE67-DD46-A751-9FEA049A22B8}"/>
              </a:ext>
            </a:extLst>
          </p:cNvPr>
          <p:cNvGrpSpPr/>
          <p:nvPr/>
        </p:nvGrpSpPr>
        <p:grpSpPr>
          <a:xfrm>
            <a:off x="8928528" y="0"/>
            <a:ext cx="3263472" cy="6858000"/>
            <a:chOff x="8928528" y="0"/>
            <a:chExt cx="3263472" cy="6858000"/>
          </a:xfrm>
        </p:grpSpPr>
        <p:sp>
          <p:nvSpPr>
            <p:cNvPr id="23" name="Oval 22">
              <a:extLst>
                <a:ext uri="{FF2B5EF4-FFF2-40B4-BE49-F238E27FC236}">
                  <a16:creationId xmlns:a16="http://schemas.microsoft.com/office/drawing/2014/main" id="{955C5B70-D34F-8A49-B220-808CE2BBB7F3}"/>
                </a:ext>
              </a:extLst>
            </p:cNvPr>
            <p:cNvSpPr/>
            <p:nvPr/>
          </p:nvSpPr>
          <p:spPr>
            <a:xfrm>
              <a:off x="8928528" y="4918120"/>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4BBFE624-6DBD-8541-B43B-180C0AFA21F0}"/>
                </a:ext>
              </a:extLst>
            </p:cNvPr>
            <p:cNvSpPr/>
            <p:nvPr/>
          </p:nvSpPr>
          <p:spPr>
            <a:xfrm>
              <a:off x="8928528" y="0"/>
              <a:ext cx="1130724" cy="565573"/>
            </a:xfrm>
            <a:custGeom>
              <a:avLst/>
              <a:gdLst>
                <a:gd name="connsiteX0" fmla="*/ 22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2"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6E01AC23-2120-A542-B140-5A29AA27A2C8}"/>
                </a:ext>
              </a:extLst>
            </p:cNvPr>
            <p:cNvSpPr/>
            <p:nvPr/>
          </p:nvSpPr>
          <p:spPr>
            <a:xfrm>
              <a:off x="10291391" y="6292417"/>
              <a:ext cx="1130724" cy="565583"/>
            </a:xfrm>
            <a:custGeom>
              <a:avLst/>
              <a:gdLst>
                <a:gd name="connsiteX0" fmla="*/ 565362 w 1130724"/>
                <a:gd name="connsiteY0" fmla="*/ 0 h 565583"/>
                <a:gd name="connsiteX1" fmla="*/ 1130724 w 1130724"/>
                <a:gd name="connsiteY1" fmla="*/ 565362 h 565583"/>
                <a:gd name="connsiteX2" fmla="*/ 1130702 w 1130724"/>
                <a:gd name="connsiteY2" fmla="*/ 565583 h 565583"/>
                <a:gd name="connsiteX3" fmla="*/ 22 w 1130724"/>
                <a:gd name="connsiteY3" fmla="*/ 565583 h 565583"/>
                <a:gd name="connsiteX4" fmla="*/ 0 w 1130724"/>
                <a:gd name="connsiteY4" fmla="*/ 565362 h 565583"/>
                <a:gd name="connsiteX5" fmla="*/ 565362 w 1130724"/>
                <a:gd name="connsiteY5" fmla="*/ 0 h 56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724" h="565583">
                  <a:moveTo>
                    <a:pt x="565362" y="0"/>
                  </a:moveTo>
                  <a:cubicBezTo>
                    <a:pt x="877603" y="0"/>
                    <a:pt x="1130724" y="253121"/>
                    <a:pt x="1130724" y="565362"/>
                  </a:cubicBezTo>
                  <a:lnTo>
                    <a:pt x="1130702" y="565583"/>
                  </a:lnTo>
                  <a:lnTo>
                    <a:pt x="22" y="565583"/>
                  </a:lnTo>
                  <a:lnTo>
                    <a:pt x="0" y="565362"/>
                  </a:lnTo>
                  <a:cubicBezTo>
                    <a:pt x="0" y="253121"/>
                    <a:pt x="253121" y="0"/>
                    <a:pt x="56536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Oval 25">
              <a:extLst>
                <a:ext uri="{FF2B5EF4-FFF2-40B4-BE49-F238E27FC236}">
                  <a16:creationId xmlns:a16="http://schemas.microsoft.com/office/drawing/2014/main" id="{154689C0-9C35-9B4D-906B-DA287DA55A38}"/>
                </a:ext>
              </a:extLst>
            </p:cNvPr>
            <p:cNvSpPr/>
            <p:nvPr/>
          </p:nvSpPr>
          <p:spPr>
            <a:xfrm>
              <a:off x="10291392" y="3549390"/>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696570F0-11E0-6147-9053-E3A4B5DBA0E4}"/>
                </a:ext>
              </a:extLst>
            </p:cNvPr>
            <p:cNvSpPr/>
            <p:nvPr/>
          </p:nvSpPr>
          <p:spPr>
            <a:xfrm>
              <a:off x="10291392" y="2177876"/>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9BDD97F6-A366-B54A-B889-42E97AFEDE37}"/>
                </a:ext>
              </a:extLst>
            </p:cNvPr>
            <p:cNvSpPr/>
            <p:nvPr/>
          </p:nvSpPr>
          <p:spPr>
            <a:xfrm>
              <a:off x="10291392" y="806363"/>
              <a:ext cx="1130724" cy="11307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58E853BC-EE80-374B-B823-8D51A948C4CF}"/>
                </a:ext>
              </a:extLst>
            </p:cNvPr>
            <p:cNvSpPr/>
            <p:nvPr/>
          </p:nvSpPr>
          <p:spPr>
            <a:xfrm>
              <a:off x="10291392" y="0"/>
              <a:ext cx="1130724" cy="565573"/>
            </a:xfrm>
            <a:custGeom>
              <a:avLst/>
              <a:gdLst>
                <a:gd name="connsiteX0" fmla="*/ 21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1"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Freeform 29">
              <a:extLst>
                <a:ext uri="{FF2B5EF4-FFF2-40B4-BE49-F238E27FC236}">
                  <a16:creationId xmlns:a16="http://schemas.microsoft.com/office/drawing/2014/main" id="{4B5B70B1-649D-9848-B5D4-6DE04D55F5F0}"/>
                </a:ext>
              </a:extLst>
            </p:cNvPr>
            <p:cNvSpPr/>
            <p:nvPr/>
          </p:nvSpPr>
          <p:spPr>
            <a:xfrm>
              <a:off x="11654256" y="6295201"/>
              <a:ext cx="537744" cy="562799"/>
            </a:xfrm>
            <a:custGeom>
              <a:avLst/>
              <a:gdLst>
                <a:gd name="connsiteX0" fmla="*/ 537744 w 537744"/>
                <a:gd name="connsiteY0" fmla="*/ 0 h 562799"/>
                <a:gd name="connsiteX1" fmla="*/ 537744 w 537744"/>
                <a:gd name="connsiteY1" fmla="*/ 562799 h 562799"/>
                <a:gd name="connsiteX2" fmla="*/ 22 w 537744"/>
                <a:gd name="connsiteY2" fmla="*/ 562799 h 562799"/>
                <a:gd name="connsiteX3" fmla="*/ 0 w 537744"/>
                <a:gd name="connsiteY3" fmla="*/ 562578 h 562799"/>
                <a:gd name="connsiteX4" fmla="*/ 451422 w 537744"/>
                <a:gd name="connsiteY4" fmla="*/ 8702 h 56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562799">
                  <a:moveTo>
                    <a:pt x="537744" y="0"/>
                  </a:moveTo>
                  <a:lnTo>
                    <a:pt x="537744" y="562799"/>
                  </a:lnTo>
                  <a:lnTo>
                    <a:pt x="22" y="562799"/>
                  </a:lnTo>
                  <a:lnTo>
                    <a:pt x="0" y="562578"/>
                  </a:lnTo>
                  <a:cubicBezTo>
                    <a:pt x="0" y="289367"/>
                    <a:pt x="193796" y="61420"/>
                    <a:pt x="451422" y="870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30">
              <a:extLst>
                <a:ext uri="{FF2B5EF4-FFF2-40B4-BE49-F238E27FC236}">
                  <a16:creationId xmlns:a16="http://schemas.microsoft.com/office/drawing/2014/main" id="{46A2092A-2157-0A49-937F-BBAE14687DE7}"/>
                </a:ext>
              </a:extLst>
            </p:cNvPr>
            <p:cNvSpPr/>
            <p:nvPr/>
          </p:nvSpPr>
          <p:spPr>
            <a:xfrm>
              <a:off x="11654256" y="4923687"/>
              <a:ext cx="537744" cy="1125156"/>
            </a:xfrm>
            <a:custGeom>
              <a:avLst/>
              <a:gdLst>
                <a:gd name="connsiteX0" fmla="*/ 537744 w 537744"/>
                <a:gd name="connsiteY0" fmla="*/ 0 h 1125156"/>
                <a:gd name="connsiteX1" fmla="*/ 537744 w 537744"/>
                <a:gd name="connsiteY1" fmla="*/ 1125156 h 1125156"/>
                <a:gd name="connsiteX2" fmla="*/ 451422 w 537744"/>
                <a:gd name="connsiteY2" fmla="*/ 1116454 h 1125156"/>
                <a:gd name="connsiteX3" fmla="*/ 0 w 537744"/>
                <a:gd name="connsiteY3" fmla="*/ 562578 h 1125156"/>
                <a:gd name="connsiteX4" fmla="*/ 451422 w 537744"/>
                <a:gd name="connsiteY4" fmla="*/ 8702 h 112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1125156">
                  <a:moveTo>
                    <a:pt x="537744" y="0"/>
                  </a:moveTo>
                  <a:lnTo>
                    <a:pt x="537744" y="1125156"/>
                  </a:lnTo>
                  <a:lnTo>
                    <a:pt x="451422" y="1116454"/>
                  </a:lnTo>
                  <a:cubicBezTo>
                    <a:pt x="193796" y="1063736"/>
                    <a:pt x="0" y="835789"/>
                    <a:pt x="0" y="562578"/>
                  </a:cubicBezTo>
                  <a:cubicBezTo>
                    <a:pt x="0" y="289367"/>
                    <a:pt x="193796" y="61420"/>
                    <a:pt x="451422" y="8702"/>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31">
              <a:extLst>
                <a:ext uri="{FF2B5EF4-FFF2-40B4-BE49-F238E27FC236}">
                  <a16:creationId xmlns:a16="http://schemas.microsoft.com/office/drawing/2014/main" id="{F092371E-D526-AF43-816F-F7AEBA9FF166}"/>
                </a:ext>
              </a:extLst>
            </p:cNvPr>
            <p:cNvSpPr/>
            <p:nvPr/>
          </p:nvSpPr>
          <p:spPr>
            <a:xfrm>
              <a:off x="11654256" y="3552173"/>
              <a:ext cx="537744" cy="1125156"/>
            </a:xfrm>
            <a:custGeom>
              <a:avLst/>
              <a:gdLst>
                <a:gd name="connsiteX0" fmla="*/ 537744 w 537744"/>
                <a:gd name="connsiteY0" fmla="*/ 0 h 1125156"/>
                <a:gd name="connsiteX1" fmla="*/ 537744 w 537744"/>
                <a:gd name="connsiteY1" fmla="*/ 1125156 h 1125156"/>
                <a:gd name="connsiteX2" fmla="*/ 451422 w 537744"/>
                <a:gd name="connsiteY2" fmla="*/ 1116454 h 1125156"/>
                <a:gd name="connsiteX3" fmla="*/ 0 w 537744"/>
                <a:gd name="connsiteY3" fmla="*/ 562578 h 1125156"/>
                <a:gd name="connsiteX4" fmla="*/ 451422 w 537744"/>
                <a:gd name="connsiteY4" fmla="*/ 8702 h 112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1125156">
                  <a:moveTo>
                    <a:pt x="537744" y="0"/>
                  </a:moveTo>
                  <a:lnTo>
                    <a:pt x="537744" y="1125156"/>
                  </a:lnTo>
                  <a:lnTo>
                    <a:pt x="451422" y="1116454"/>
                  </a:lnTo>
                  <a:cubicBezTo>
                    <a:pt x="193796" y="1063736"/>
                    <a:pt x="0" y="835789"/>
                    <a:pt x="0" y="562578"/>
                  </a:cubicBezTo>
                  <a:cubicBezTo>
                    <a:pt x="0" y="289367"/>
                    <a:pt x="193796" y="61420"/>
                    <a:pt x="451422" y="870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Freeform 32">
              <a:extLst>
                <a:ext uri="{FF2B5EF4-FFF2-40B4-BE49-F238E27FC236}">
                  <a16:creationId xmlns:a16="http://schemas.microsoft.com/office/drawing/2014/main" id="{06995714-B51E-E84A-9FD5-3AD33004E517}"/>
                </a:ext>
              </a:extLst>
            </p:cNvPr>
            <p:cNvSpPr/>
            <p:nvPr/>
          </p:nvSpPr>
          <p:spPr>
            <a:xfrm>
              <a:off x="11654256" y="2180659"/>
              <a:ext cx="537744" cy="1125156"/>
            </a:xfrm>
            <a:custGeom>
              <a:avLst/>
              <a:gdLst>
                <a:gd name="connsiteX0" fmla="*/ 537744 w 537744"/>
                <a:gd name="connsiteY0" fmla="*/ 0 h 1125156"/>
                <a:gd name="connsiteX1" fmla="*/ 537744 w 537744"/>
                <a:gd name="connsiteY1" fmla="*/ 1125156 h 1125156"/>
                <a:gd name="connsiteX2" fmla="*/ 451422 w 537744"/>
                <a:gd name="connsiteY2" fmla="*/ 1116454 h 1125156"/>
                <a:gd name="connsiteX3" fmla="*/ 0 w 537744"/>
                <a:gd name="connsiteY3" fmla="*/ 562578 h 1125156"/>
                <a:gd name="connsiteX4" fmla="*/ 451422 w 537744"/>
                <a:gd name="connsiteY4" fmla="*/ 8702 h 112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1125156">
                  <a:moveTo>
                    <a:pt x="537744" y="0"/>
                  </a:moveTo>
                  <a:lnTo>
                    <a:pt x="537744" y="1125156"/>
                  </a:lnTo>
                  <a:lnTo>
                    <a:pt x="451422" y="1116454"/>
                  </a:lnTo>
                  <a:cubicBezTo>
                    <a:pt x="193796" y="1063736"/>
                    <a:pt x="0" y="835789"/>
                    <a:pt x="0" y="562578"/>
                  </a:cubicBezTo>
                  <a:cubicBezTo>
                    <a:pt x="0" y="289367"/>
                    <a:pt x="193796" y="61420"/>
                    <a:pt x="451422" y="870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Freeform 33">
              <a:extLst>
                <a:ext uri="{FF2B5EF4-FFF2-40B4-BE49-F238E27FC236}">
                  <a16:creationId xmlns:a16="http://schemas.microsoft.com/office/drawing/2014/main" id="{0FDB0CC5-76AA-6E44-8376-4EE649C1DE42}"/>
                </a:ext>
              </a:extLst>
            </p:cNvPr>
            <p:cNvSpPr/>
            <p:nvPr/>
          </p:nvSpPr>
          <p:spPr>
            <a:xfrm>
              <a:off x="11654256" y="809146"/>
              <a:ext cx="537744" cy="1125156"/>
            </a:xfrm>
            <a:custGeom>
              <a:avLst/>
              <a:gdLst>
                <a:gd name="connsiteX0" fmla="*/ 537744 w 537744"/>
                <a:gd name="connsiteY0" fmla="*/ 0 h 1125156"/>
                <a:gd name="connsiteX1" fmla="*/ 537744 w 537744"/>
                <a:gd name="connsiteY1" fmla="*/ 1125156 h 1125156"/>
                <a:gd name="connsiteX2" fmla="*/ 451422 w 537744"/>
                <a:gd name="connsiteY2" fmla="*/ 1116454 h 1125156"/>
                <a:gd name="connsiteX3" fmla="*/ 0 w 537744"/>
                <a:gd name="connsiteY3" fmla="*/ 562578 h 1125156"/>
                <a:gd name="connsiteX4" fmla="*/ 451422 w 537744"/>
                <a:gd name="connsiteY4" fmla="*/ 8702 h 112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1125156">
                  <a:moveTo>
                    <a:pt x="537744" y="0"/>
                  </a:moveTo>
                  <a:lnTo>
                    <a:pt x="537744" y="1125156"/>
                  </a:lnTo>
                  <a:lnTo>
                    <a:pt x="451422" y="1116454"/>
                  </a:lnTo>
                  <a:cubicBezTo>
                    <a:pt x="193796" y="1063736"/>
                    <a:pt x="0" y="835789"/>
                    <a:pt x="0" y="562578"/>
                  </a:cubicBezTo>
                  <a:cubicBezTo>
                    <a:pt x="0" y="289367"/>
                    <a:pt x="193796" y="61420"/>
                    <a:pt x="451422" y="8702"/>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34">
              <a:extLst>
                <a:ext uri="{FF2B5EF4-FFF2-40B4-BE49-F238E27FC236}">
                  <a16:creationId xmlns:a16="http://schemas.microsoft.com/office/drawing/2014/main" id="{3D981F0B-8982-1C45-8D7C-30E744003823}"/>
                </a:ext>
              </a:extLst>
            </p:cNvPr>
            <p:cNvSpPr/>
            <p:nvPr/>
          </p:nvSpPr>
          <p:spPr>
            <a:xfrm>
              <a:off x="11654256" y="0"/>
              <a:ext cx="537744" cy="562788"/>
            </a:xfrm>
            <a:custGeom>
              <a:avLst/>
              <a:gdLst>
                <a:gd name="connsiteX0" fmla="*/ 21 w 537744"/>
                <a:gd name="connsiteY0" fmla="*/ 0 h 562788"/>
                <a:gd name="connsiteX1" fmla="*/ 537744 w 537744"/>
                <a:gd name="connsiteY1" fmla="*/ 0 h 562788"/>
                <a:gd name="connsiteX2" fmla="*/ 537744 w 537744"/>
                <a:gd name="connsiteY2" fmla="*/ 562788 h 562788"/>
                <a:gd name="connsiteX3" fmla="*/ 451422 w 537744"/>
                <a:gd name="connsiteY3" fmla="*/ 554086 h 562788"/>
                <a:gd name="connsiteX4" fmla="*/ 0 w 537744"/>
                <a:gd name="connsiteY4" fmla="*/ 211 h 562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562788">
                  <a:moveTo>
                    <a:pt x="21" y="0"/>
                  </a:moveTo>
                  <a:lnTo>
                    <a:pt x="537744" y="0"/>
                  </a:lnTo>
                  <a:lnTo>
                    <a:pt x="537744" y="562788"/>
                  </a:lnTo>
                  <a:lnTo>
                    <a:pt x="451422" y="554086"/>
                  </a:lnTo>
                  <a:cubicBezTo>
                    <a:pt x="193796" y="501368"/>
                    <a:pt x="0" y="273421"/>
                    <a:pt x="0" y="2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DF76EEB7-1E87-0447-8CD6-DD220CF4EE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8AE526-3A03-9B41-8C9F-27156E701C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D08D72-182D-C947-B3F7-B74948D0849B}"/>
              </a:ext>
            </a:extLst>
          </p:cNvPr>
          <p:cNvSpPr>
            <a:spLocks noGrp="1"/>
          </p:cNvSpPr>
          <p:nvPr>
            <p:ph type="dt" sz="half" idx="10"/>
          </p:nvPr>
        </p:nvSpPr>
        <p:spPr/>
        <p:txBody>
          <a:bodyPr/>
          <a:lstStyle/>
          <a:p>
            <a:fld id="{1D9456AD-15B8-4765-80F2-3FA725B57FF9}" type="datetime1">
              <a:rPr lang="en-US" smtClean="0"/>
              <a:t>12/11/2023</a:t>
            </a:fld>
            <a:endParaRPr lang="en-US"/>
          </a:p>
        </p:txBody>
      </p:sp>
      <p:sp>
        <p:nvSpPr>
          <p:cNvPr id="5" name="Footer Placeholder 4">
            <a:extLst>
              <a:ext uri="{FF2B5EF4-FFF2-40B4-BE49-F238E27FC236}">
                <a16:creationId xmlns:a16="http://schemas.microsoft.com/office/drawing/2014/main" id="{B076E396-D059-AF4D-A1D9-C1347978AA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8845B6-87C0-2F4A-8146-00E911CDF70D}"/>
              </a:ext>
            </a:extLst>
          </p:cNvPr>
          <p:cNvSpPr>
            <a:spLocks noGrp="1"/>
          </p:cNvSpPr>
          <p:nvPr>
            <p:ph type="sldNum" sz="quarter" idx="12"/>
          </p:nvPr>
        </p:nvSpPr>
        <p:spPr>
          <a:xfrm>
            <a:off x="7086480" y="6141085"/>
            <a:ext cx="813816" cy="365125"/>
          </a:xfrm>
        </p:spPr>
        <p:txBody>
          <a:bodyPr/>
          <a:lstStyle/>
          <a:p>
            <a:fld id="{49ABCAEC-7D34-E549-A96E-FCEDAADBE4B0}" type="slidenum">
              <a:rPr lang="en-US" smtClean="0"/>
              <a:t>‹#›</a:t>
            </a:fld>
            <a:endParaRPr lang="en-US"/>
          </a:p>
        </p:txBody>
      </p:sp>
      <p:cxnSp>
        <p:nvCxnSpPr>
          <p:cNvPr id="7" name="Straight Connector 6">
            <a:extLst>
              <a:ext uri="{FF2B5EF4-FFF2-40B4-BE49-F238E27FC236}">
                <a16:creationId xmlns:a16="http://schemas.microsoft.com/office/drawing/2014/main" id="{A78A912D-4325-C449-BF2E-F331A221C695}"/>
              </a:ext>
            </a:extLst>
          </p:cNvPr>
          <p:cNvCxnSpPr>
            <a:cxnSpLocks/>
          </p:cNvCxnSpPr>
          <p:nvPr/>
        </p:nvCxnSpPr>
        <p:spPr>
          <a:xfrm>
            <a:off x="565150" y="6087110"/>
            <a:ext cx="733514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15417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3803ECC-8207-244B-8051-94AA5304EDD9}"/>
              </a:ext>
            </a:extLst>
          </p:cNvPr>
          <p:cNvGrpSpPr/>
          <p:nvPr/>
        </p:nvGrpSpPr>
        <p:grpSpPr>
          <a:xfrm>
            <a:off x="10290315" y="0"/>
            <a:ext cx="1901686" cy="6858000"/>
            <a:chOff x="10290315" y="0"/>
            <a:chExt cx="1901686" cy="6858000"/>
          </a:xfrm>
        </p:grpSpPr>
        <p:sp>
          <p:nvSpPr>
            <p:cNvPr id="17" name="Freeform 16">
              <a:extLst>
                <a:ext uri="{FF2B5EF4-FFF2-40B4-BE49-F238E27FC236}">
                  <a16:creationId xmlns:a16="http://schemas.microsoft.com/office/drawing/2014/main" id="{CF2E8536-821C-3846-A152-2001B7BA4BC9}"/>
                </a:ext>
              </a:extLst>
            </p:cNvPr>
            <p:cNvSpPr/>
            <p:nvPr/>
          </p:nvSpPr>
          <p:spPr>
            <a:xfrm>
              <a:off x="10290315" y="0"/>
              <a:ext cx="1130724" cy="565573"/>
            </a:xfrm>
            <a:custGeom>
              <a:avLst/>
              <a:gdLst>
                <a:gd name="connsiteX0" fmla="*/ 21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1"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17">
              <a:extLst>
                <a:ext uri="{FF2B5EF4-FFF2-40B4-BE49-F238E27FC236}">
                  <a16:creationId xmlns:a16="http://schemas.microsoft.com/office/drawing/2014/main" id="{57A02781-FFB4-C04E-97FB-78D26A9E8F1C}"/>
                </a:ext>
              </a:extLst>
            </p:cNvPr>
            <p:cNvSpPr/>
            <p:nvPr/>
          </p:nvSpPr>
          <p:spPr>
            <a:xfrm>
              <a:off x="11653180" y="6295093"/>
              <a:ext cx="538821" cy="562907"/>
            </a:xfrm>
            <a:custGeom>
              <a:avLst/>
              <a:gdLst>
                <a:gd name="connsiteX0" fmla="*/ 538821 w 538821"/>
                <a:gd name="connsiteY0" fmla="*/ 0 h 562907"/>
                <a:gd name="connsiteX1" fmla="*/ 538821 w 538821"/>
                <a:gd name="connsiteY1" fmla="*/ 562907 h 562907"/>
                <a:gd name="connsiteX2" fmla="*/ 22 w 538821"/>
                <a:gd name="connsiteY2" fmla="*/ 562907 h 562907"/>
                <a:gd name="connsiteX3" fmla="*/ 0 w 538821"/>
                <a:gd name="connsiteY3" fmla="*/ 562686 h 562907"/>
                <a:gd name="connsiteX4" fmla="*/ 451422 w 538821"/>
                <a:gd name="connsiteY4" fmla="*/ 8810 h 56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907">
                  <a:moveTo>
                    <a:pt x="538821" y="0"/>
                  </a:moveTo>
                  <a:lnTo>
                    <a:pt x="538821" y="562907"/>
                  </a:lnTo>
                  <a:lnTo>
                    <a:pt x="22" y="562907"/>
                  </a:lnTo>
                  <a:lnTo>
                    <a:pt x="0" y="562686"/>
                  </a:ln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18">
              <a:extLst>
                <a:ext uri="{FF2B5EF4-FFF2-40B4-BE49-F238E27FC236}">
                  <a16:creationId xmlns:a16="http://schemas.microsoft.com/office/drawing/2014/main" id="{14C29607-37D2-7A4B-98E2-2C851CD6776C}"/>
                </a:ext>
              </a:extLst>
            </p:cNvPr>
            <p:cNvSpPr/>
            <p:nvPr/>
          </p:nvSpPr>
          <p:spPr>
            <a:xfrm>
              <a:off x="11653180" y="3552066"/>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D12FC7BA-80CC-1C4E-B268-B3EEA08137F1}"/>
                </a:ext>
              </a:extLst>
            </p:cNvPr>
            <p:cNvSpPr/>
            <p:nvPr/>
          </p:nvSpPr>
          <p:spPr>
            <a:xfrm>
              <a:off x="11653180" y="2180552"/>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a:extLst>
                <a:ext uri="{FF2B5EF4-FFF2-40B4-BE49-F238E27FC236}">
                  <a16:creationId xmlns:a16="http://schemas.microsoft.com/office/drawing/2014/main" id="{BEBC8FB1-96B9-D84A-BD2A-BC8410EBE012}"/>
                </a:ext>
              </a:extLst>
            </p:cNvPr>
            <p:cNvSpPr/>
            <p:nvPr/>
          </p:nvSpPr>
          <p:spPr>
            <a:xfrm>
              <a:off x="11653180" y="809039"/>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5A8455B4-A778-B44D-A7E8-C45A4846D9F7}"/>
                </a:ext>
              </a:extLst>
            </p:cNvPr>
            <p:cNvSpPr/>
            <p:nvPr/>
          </p:nvSpPr>
          <p:spPr>
            <a:xfrm>
              <a:off x="11653180" y="0"/>
              <a:ext cx="538821" cy="562898"/>
            </a:xfrm>
            <a:custGeom>
              <a:avLst/>
              <a:gdLst>
                <a:gd name="connsiteX0" fmla="*/ 21 w 538821"/>
                <a:gd name="connsiteY0" fmla="*/ 0 h 562898"/>
                <a:gd name="connsiteX1" fmla="*/ 538821 w 538821"/>
                <a:gd name="connsiteY1" fmla="*/ 0 h 562898"/>
                <a:gd name="connsiteX2" fmla="*/ 538821 w 538821"/>
                <a:gd name="connsiteY2" fmla="*/ 562898 h 562898"/>
                <a:gd name="connsiteX3" fmla="*/ 451422 w 538821"/>
                <a:gd name="connsiteY3" fmla="*/ 554087 h 562898"/>
                <a:gd name="connsiteX4" fmla="*/ 0 w 538821"/>
                <a:gd name="connsiteY4" fmla="*/ 211 h 56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898">
                  <a:moveTo>
                    <a:pt x="21" y="0"/>
                  </a:moveTo>
                  <a:lnTo>
                    <a:pt x="538821" y="0"/>
                  </a:lnTo>
                  <a:lnTo>
                    <a:pt x="538821" y="562898"/>
                  </a:lnTo>
                  <a:lnTo>
                    <a:pt x="451422" y="554087"/>
                  </a:lnTo>
                  <a:cubicBezTo>
                    <a:pt x="193796" y="501369"/>
                    <a:pt x="0" y="27342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Vertical Title 1">
            <a:extLst>
              <a:ext uri="{FF2B5EF4-FFF2-40B4-BE49-F238E27FC236}">
                <a16:creationId xmlns:a16="http://schemas.microsoft.com/office/drawing/2014/main" id="{B0407CCA-80EF-2B45-8F8C-7D5796A61BC0}"/>
              </a:ext>
            </a:extLst>
          </p:cNvPr>
          <p:cNvSpPr>
            <a:spLocks noGrp="1"/>
          </p:cNvSpPr>
          <p:nvPr>
            <p:ph type="title" orient="vert"/>
          </p:nvPr>
        </p:nvSpPr>
        <p:spPr>
          <a:xfrm>
            <a:off x="8950095" y="976630"/>
            <a:ext cx="2268507" cy="478459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AA221C3-F2D3-FC4F-938B-4C4CAC7370B1}"/>
              </a:ext>
            </a:extLst>
          </p:cNvPr>
          <p:cNvSpPr>
            <a:spLocks noGrp="1"/>
          </p:cNvSpPr>
          <p:nvPr>
            <p:ph type="body" orient="vert" idx="1"/>
          </p:nvPr>
        </p:nvSpPr>
        <p:spPr>
          <a:xfrm>
            <a:off x="565150" y="976630"/>
            <a:ext cx="8264057" cy="478459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061B46-3E9A-AC48-8C84-5B46EA1EC583}"/>
              </a:ext>
            </a:extLst>
          </p:cNvPr>
          <p:cNvSpPr>
            <a:spLocks noGrp="1"/>
          </p:cNvSpPr>
          <p:nvPr>
            <p:ph type="dt" sz="half" idx="10"/>
          </p:nvPr>
        </p:nvSpPr>
        <p:spPr/>
        <p:txBody>
          <a:bodyPr/>
          <a:lstStyle/>
          <a:p>
            <a:fld id="{35C682A4-9A23-4969-82D1-6817EA2550D8}" type="datetime1">
              <a:rPr lang="en-US" smtClean="0"/>
              <a:t>12/11/2023</a:t>
            </a:fld>
            <a:endParaRPr lang="en-US"/>
          </a:p>
        </p:txBody>
      </p:sp>
      <p:sp>
        <p:nvSpPr>
          <p:cNvPr id="5" name="Footer Placeholder 4">
            <a:extLst>
              <a:ext uri="{FF2B5EF4-FFF2-40B4-BE49-F238E27FC236}">
                <a16:creationId xmlns:a16="http://schemas.microsoft.com/office/drawing/2014/main" id="{369F8F49-5859-714C-8EE1-61A74F324E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2B6F69-3FFA-D94F-BA99-873D36F7F69D}"/>
              </a:ext>
            </a:extLst>
          </p:cNvPr>
          <p:cNvSpPr>
            <a:spLocks noGrp="1"/>
          </p:cNvSpPr>
          <p:nvPr>
            <p:ph type="sldNum" sz="quarter" idx="12"/>
          </p:nvPr>
        </p:nvSpPr>
        <p:spPr/>
        <p:txBody>
          <a:bodyPr/>
          <a:lstStyle/>
          <a:p>
            <a:fld id="{49ABCAEC-7D34-E549-A96E-FCEDAADBE4B0}" type="slidenum">
              <a:rPr lang="en-US" smtClean="0"/>
              <a:t>‹#›</a:t>
            </a:fld>
            <a:endParaRPr lang="en-US"/>
          </a:p>
        </p:txBody>
      </p:sp>
      <p:cxnSp>
        <p:nvCxnSpPr>
          <p:cNvPr id="7" name="Straight Connector 6">
            <a:extLst>
              <a:ext uri="{FF2B5EF4-FFF2-40B4-BE49-F238E27FC236}">
                <a16:creationId xmlns:a16="http://schemas.microsoft.com/office/drawing/2014/main" id="{C31B40EC-87DB-A64F-9D4B-98A86F7CEFFF}"/>
              </a:ext>
            </a:extLst>
          </p:cNvPr>
          <p:cNvCxnSpPr>
            <a:cxnSpLocks/>
          </p:cNvCxnSpPr>
          <p:nvPr/>
        </p:nvCxnSpPr>
        <p:spPr>
          <a:xfrm>
            <a:off x="565150" y="6087110"/>
            <a:ext cx="110583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6407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F0CAFDA3-320A-C24D-A7A1-20C1267EC987}"/>
              </a:ext>
            </a:extLst>
          </p:cNvPr>
          <p:cNvGrpSpPr/>
          <p:nvPr/>
        </p:nvGrpSpPr>
        <p:grpSpPr>
          <a:xfrm>
            <a:off x="8928528" y="0"/>
            <a:ext cx="3263472" cy="6858000"/>
            <a:chOff x="8928528" y="0"/>
            <a:chExt cx="3263472" cy="6858000"/>
          </a:xfrm>
        </p:grpSpPr>
        <p:sp>
          <p:nvSpPr>
            <p:cNvPr id="23" name="Oval 22">
              <a:extLst>
                <a:ext uri="{FF2B5EF4-FFF2-40B4-BE49-F238E27FC236}">
                  <a16:creationId xmlns:a16="http://schemas.microsoft.com/office/drawing/2014/main" id="{D2411669-6E2C-2243-99CD-6BC9D724FA1F}"/>
                </a:ext>
              </a:extLst>
            </p:cNvPr>
            <p:cNvSpPr/>
            <p:nvPr/>
          </p:nvSpPr>
          <p:spPr>
            <a:xfrm>
              <a:off x="8928528" y="806362"/>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C4E0C522-0F40-ED44-A700-F1BCD1CF74F5}"/>
                </a:ext>
              </a:extLst>
            </p:cNvPr>
            <p:cNvSpPr/>
            <p:nvPr/>
          </p:nvSpPr>
          <p:spPr>
            <a:xfrm>
              <a:off x="8928528" y="0"/>
              <a:ext cx="1130724" cy="565573"/>
            </a:xfrm>
            <a:custGeom>
              <a:avLst/>
              <a:gdLst>
                <a:gd name="connsiteX0" fmla="*/ 22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2"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B79B4380-CBEC-C341-A10E-5EF9A8597959}"/>
                </a:ext>
              </a:extLst>
            </p:cNvPr>
            <p:cNvSpPr/>
            <p:nvPr/>
          </p:nvSpPr>
          <p:spPr>
            <a:xfrm>
              <a:off x="10291391" y="6292417"/>
              <a:ext cx="1130724" cy="565583"/>
            </a:xfrm>
            <a:custGeom>
              <a:avLst/>
              <a:gdLst>
                <a:gd name="connsiteX0" fmla="*/ 565362 w 1130724"/>
                <a:gd name="connsiteY0" fmla="*/ 0 h 565583"/>
                <a:gd name="connsiteX1" fmla="*/ 1130724 w 1130724"/>
                <a:gd name="connsiteY1" fmla="*/ 565362 h 565583"/>
                <a:gd name="connsiteX2" fmla="*/ 1130702 w 1130724"/>
                <a:gd name="connsiteY2" fmla="*/ 565583 h 565583"/>
                <a:gd name="connsiteX3" fmla="*/ 22 w 1130724"/>
                <a:gd name="connsiteY3" fmla="*/ 565583 h 565583"/>
                <a:gd name="connsiteX4" fmla="*/ 0 w 1130724"/>
                <a:gd name="connsiteY4" fmla="*/ 565362 h 565583"/>
                <a:gd name="connsiteX5" fmla="*/ 565362 w 1130724"/>
                <a:gd name="connsiteY5" fmla="*/ 0 h 56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724" h="565583">
                  <a:moveTo>
                    <a:pt x="565362" y="0"/>
                  </a:moveTo>
                  <a:cubicBezTo>
                    <a:pt x="877603" y="0"/>
                    <a:pt x="1130724" y="253121"/>
                    <a:pt x="1130724" y="565362"/>
                  </a:cubicBezTo>
                  <a:lnTo>
                    <a:pt x="1130702" y="565583"/>
                  </a:lnTo>
                  <a:lnTo>
                    <a:pt x="22" y="565583"/>
                  </a:lnTo>
                  <a:lnTo>
                    <a:pt x="0" y="565362"/>
                  </a:lnTo>
                  <a:cubicBezTo>
                    <a:pt x="0" y="253121"/>
                    <a:pt x="253121" y="0"/>
                    <a:pt x="56536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Oval 25">
              <a:extLst>
                <a:ext uri="{FF2B5EF4-FFF2-40B4-BE49-F238E27FC236}">
                  <a16:creationId xmlns:a16="http://schemas.microsoft.com/office/drawing/2014/main" id="{F04AD70E-5490-4C4E-A05D-D67949C51A74}"/>
                </a:ext>
              </a:extLst>
            </p:cNvPr>
            <p:cNvSpPr/>
            <p:nvPr/>
          </p:nvSpPr>
          <p:spPr>
            <a:xfrm>
              <a:off x="10291392" y="3549390"/>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128A8883-9F24-0047-92B7-45B3D2E7D9C0}"/>
                </a:ext>
              </a:extLst>
            </p:cNvPr>
            <p:cNvSpPr/>
            <p:nvPr/>
          </p:nvSpPr>
          <p:spPr>
            <a:xfrm>
              <a:off x="10291392" y="2177876"/>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AC3A3BB-FD2C-FB44-9478-FA87EF229D37}"/>
                </a:ext>
              </a:extLst>
            </p:cNvPr>
            <p:cNvSpPr/>
            <p:nvPr/>
          </p:nvSpPr>
          <p:spPr>
            <a:xfrm>
              <a:off x="10291392" y="806363"/>
              <a:ext cx="1130724" cy="11307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BF46B3B1-E981-BB40-B916-51A6D3851969}"/>
                </a:ext>
              </a:extLst>
            </p:cNvPr>
            <p:cNvSpPr/>
            <p:nvPr/>
          </p:nvSpPr>
          <p:spPr>
            <a:xfrm>
              <a:off x="10291392" y="0"/>
              <a:ext cx="1130724" cy="565573"/>
            </a:xfrm>
            <a:custGeom>
              <a:avLst/>
              <a:gdLst>
                <a:gd name="connsiteX0" fmla="*/ 21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1"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Freeform 29">
              <a:extLst>
                <a:ext uri="{FF2B5EF4-FFF2-40B4-BE49-F238E27FC236}">
                  <a16:creationId xmlns:a16="http://schemas.microsoft.com/office/drawing/2014/main" id="{EA7DAE92-7D6B-B042-83BE-047C8EC322A0}"/>
                </a:ext>
              </a:extLst>
            </p:cNvPr>
            <p:cNvSpPr/>
            <p:nvPr/>
          </p:nvSpPr>
          <p:spPr>
            <a:xfrm>
              <a:off x="11654256" y="6295201"/>
              <a:ext cx="537744" cy="562799"/>
            </a:xfrm>
            <a:custGeom>
              <a:avLst/>
              <a:gdLst>
                <a:gd name="connsiteX0" fmla="*/ 537744 w 537744"/>
                <a:gd name="connsiteY0" fmla="*/ 0 h 562799"/>
                <a:gd name="connsiteX1" fmla="*/ 537744 w 537744"/>
                <a:gd name="connsiteY1" fmla="*/ 562799 h 562799"/>
                <a:gd name="connsiteX2" fmla="*/ 22 w 537744"/>
                <a:gd name="connsiteY2" fmla="*/ 562799 h 562799"/>
                <a:gd name="connsiteX3" fmla="*/ 0 w 537744"/>
                <a:gd name="connsiteY3" fmla="*/ 562578 h 562799"/>
                <a:gd name="connsiteX4" fmla="*/ 451422 w 537744"/>
                <a:gd name="connsiteY4" fmla="*/ 8702 h 562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562799">
                  <a:moveTo>
                    <a:pt x="537744" y="0"/>
                  </a:moveTo>
                  <a:lnTo>
                    <a:pt x="537744" y="562799"/>
                  </a:lnTo>
                  <a:lnTo>
                    <a:pt x="22" y="562799"/>
                  </a:lnTo>
                  <a:lnTo>
                    <a:pt x="0" y="562578"/>
                  </a:lnTo>
                  <a:cubicBezTo>
                    <a:pt x="0" y="289367"/>
                    <a:pt x="193796" y="61420"/>
                    <a:pt x="451422" y="870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30">
              <a:extLst>
                <a:ext uri="{FF2B5EF4-FFF2-40B4-BE49-F238E27FC236}">
                  <a16:creationId xmlns:a16="http://schemas.microsoft.com/office/drawing/2014/main" id="{06AADCE6-4277-EA49-AF23-63B53CA6772A}"/>
                </a:ext>
              </a:extLst>
            </p:cNvPr>
            <p:cNvSpPr/>
            <p:nvPr/>
          </p:nvSpPr>
          <p:spPr>
            <a:xfrm>
              <a:off x="11654256" y="4923687"/>
              <a:ext cx="537744" cy="1125156"/>
            </a:xfrm>
            <a:custGeom>
              <a:avLst/>
              <a:gdLst>
                <a:gd name="connsiteX0" fmla="*/ 537744 w 537744"/>
                <a:gd name="connsiteY0" fmla="*/ 0 h 1125156"/>
                <a:gd name="connsiteX1" fmla="*/ 537744 w 537744"/>
                <a:gd name="connsiteY1" fmla="*/ 1125156 h 1125156"/>
                <a:gd name="connsiteX2" fmla="*/ 451422 w 537744"/>
                <a:gd name="connsiteY2" fmla="*/ 1116454 h 1125156"/>
                <a:gd name="connsiteX3" fmla="*/ 0 w 537744"/>
                <a:gd name="connsiteY3" fmla="*/ 562578 h 1125156"/>
                <a:gd name="connsiteX4" fmla="*/ 451422 w 537744"/>
                <a:gd name="connsiteY4" fmla="*/ 8702 h 112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1125156">
                  <a:moveTo>
                    <a:pt x="537744" y="0"/>
                  </a:moveTo>
                  <a:lnTo>
                    <a:pt x="537744" y="1125156"/>
                  </a:lnTo>
                  <a:lnTo>
                    <a:pt x="451422" y="1116454"/>
                  </a:lnTo>
                  <a:cubicBezTo>
                    <a:pt x="193796" y="1063736"/>
                    <a:pt x="0" y="835789"/>
                    <a:pt x="0" y="562578"/>
                  </a:cubicBezTo>
                  <a:cubicBezTo>
                    <a:pt x="0" y="289367"/>
                    <a:pt x="193796" y="61420"/>
                    <a:pt x="451422" y="8702"/>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31">
              <a:extLst>
                <a:ext uri="{FF2B5EF4-FFF2-40B4-BE49-F238E27FC236}">
                  <a16:creationId xmlns:a16="http://schemas.microsoft.com/office/drawing/2014/main" id="{58CEA343-047B-DF4E-A7A8-881C7740EA36}"/>
                </a:ext>
              </a:extLst>
            </p:cNvPr>
            <p:cNvSpPr/>
            <p:nvPr/>
          </p:nvSpPr>
          <p:spPr>
            <a:xfrm>
              <a:off x="11654256" y="3552173"/>
              <a:ext cx="537744" cy="1125156"/>
            </a:xfrm>
            <a:custGeom>
              <a:avLst/>
              <a:gdLst>
                <a:gd name="connsiteX0" fmla="*/ 537744 w 537744"/>
                <a:gd name="connsiteY0" fmla="*/ 0 h 1125156"/>
                <a:gd name="connsiteX1" fmla="*/ 537744 w 537744"/>
                <a:gd name="connsiteY1" fmla="*/ 1125156 h 1125156"/>
                <a:gd name="connsiteX2" fmla="*/ 451422 w 537744"/>
                <a:gd name="connsiteY2" fmla="*/ 1116454 h 1125156"/>
                <a:gd name="connsiteX3" fmla="*/ 0 w 537744"/>
                <a:gd name="connsiteY3" fmla="*/ 562578 h 1125156"/>
                <a:gd name="connsiteX4" fmla="*/ 451422 w 537744"/>
                <a:gd name="connsiteY4" fmla="*/ 8702 h 112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1125156">
                  <a:moveTo>
                    <a:pt x="537744" y="0"/>
                  </a:moveTo>
                  <a:lnTo>
                    <a:pt x="537744" y="1125156"/>
                  </a:lnTo>
                  <a:lnTo>
                    <a:pt x="451422" y="1116454"/>
                  </a:lnTo>
                  <a:cubicBezTo>
                    <a:pt x="193796" y="1063736"/>
                    <a:pt x="0" y="835789"/>
                    <a:pt x="0" y="562578"/>
                  </a:cubicBezTo>
                  <a:cubicBezTo>
                    <a:pt x="0" y="289367"/>
                    <a:pt x="193796" y="61420"/>
                    <a:pt x="451422" y="870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Freeform 32">
              <a:extLst>
                <a:ext uri="{FF2B5EF4-FFF2-40B4-BE49-F238E27FC236}">
                  <a16:creationId xmlns:a16="http://schemas.microsoft.com/office/drawing/2014/main" id="{FCCBAA07-17CE-2740-AA04-AEDA5EAD2796}"/>
                </a:ext>
              </a:extLst>
            </p:cNvPr>
            <p:cNvSpPr/>
            <p:nvPr/>
          </p:nvSpPr>
          <p:spPr>
            <a:xfrm>
              <a:off x="11654256" y="2180659"/>
              <a:ext cx="537744" cy="1125156"/>
            </a:xfrm>
            <a:custGeom>
              <a:avLst/>
              <a:gdLst>
                <a:gd name="connsiteX0" fmla="*/ 537744 w 537744"/>
                <a:gd name="connsiteY0" fmla="*/ 0 h 1125156"/>
                <a:gd name="connsiteX1" fmla="*/ 537744 w 537744"/>
                <a:gd name="connsiteY1" fmla="*/ 1125156 h 1125156"/>
                <a:gd name="connsiteX2" fmla="*/ 451422 w 537744"/>
                <a:gd name="connsiteY2" fmla="*/ 1116454 h 1125156"/>
                <a:gd name="connsiteX3" fmla="*/ 0 w 537744"/>
                <a:gd name="connsiteY3" fmla="*/ 562578 h 1125156"/>
                <a:gd name="connsiteX4" fmla="*/ 451422 w 537744"/>
                <a:gd name="connsiteY4" fmla="*/ 8702 h 112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1125156">
                  <a:moveTo>
                    <a:pt x="537744" y="0"/>
                  </a:moveTo>
                  <a:lnTo>
                    <a:pt x="537744" y="1125156"/>
                  </a:lnTo>
                  <a:lnTo>
                    <a:pt x="451422" y="1116454"/>
                  </a:lnTo>
                  <a:cubicBezTo>
                    <a:pt x="193796" y="1063736"/>
                    <a:pt x="0" y="835789"/>
                    <a:pt x="0" y="562578"/>
                  </a:cubicBezTo>
                  <a:cubicBezTo>
                    <a:pt x="0" y="289367"/>
                    <a:pt x="193796" y="61420"/>
                    <a:pt x="451422" y="870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Freeform 33">
              <a:extLst>
                <a:ext uri="{FF2B5EF4-FFF2-40B4-BE49-F238E27FC236}">
                  <a16:creationId xmlns:a16="http://schemas.microsoft.com/office/drawing/2014/main" id="{BF15C430-7951-6040-BD4C-4E996E94480E}"/>
                </a:ext>
              </a:extLst>
            </p:cNvPr>
            <p:cNvSpPr/>
            <p:nvPr/>
          </p:nvSpPr>
          <p:spPr>
            <a:xfrm>
              <a:off x="11654256" y="809146"/>
              <a:ext cx="537744" cy="1125156"/>
            </a:xfrm>
            <a:custGeom>
              <a:avLst/>
              <a:gdLst>
                <a:gd name="connsiteX0" fmla="*/ 537744 w 537744"/>
                <a:gd name="connsiteY0" fmla="*/ 0 h 1125156"/>
                <a:gd name="connsiteX1" fmla="*/ 537744 w 537744"/>
                <a:gd name="connsiteY1" fmla="*/ 1125156 h 1125156"/>
                <a:gd name="connsiteX2" fmla="*/ 451422 w 537744"/>
                <a:gd name="connsiteY2" fmla="*/ 1116454 h 1125156"/>
                <a:gd name="connsiteX3" fmla="*/ 0 w 537744"/>
                <a:gd name="connsiteY3" fmla="*/ 562578 h 1125156"/>
                <a:gd name="connsiteX4" fmla="*/ 451422 w 537744"/>
                <a:gd name="connsiteY4" fmla="*/ 8702 h 112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1125156">
                  <a:moveTo>
                    <a:pt x="537744" y="0"/>
                  </a:moveTo>
                  <a:lnTo>
                    <a:pt x="537744" y="1125156"/>
                  </a:lnTo>
                  <a:lnTo>
                    <a:pt x="451422" y="1116454"/>
                  </a:lnTo>
                  <a:cubicBezTo>
                    <a:pt x="193796" y="1063736"/>
                    <a:pt x="0" y="835789"/>
                    <a:pt x="0" y="562578"/>
                  </a:cubicBezTo>
                  <a:cubicBezTo>
                    <a:pt x="0" y="289367"/>
                    <a:pt x="193796" y="61420"/>
                    <a:pt x="451422" y="8702"/>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34">
              <a:extLst>
                <a:ext uri="{FF2B5EF4-FFF2-40B4-BE49-F238E27FC236}">
                  <a16:creationId xmlns:a16="http://schemas.microsoft.com/office/drawing/2014/main" id="{0B3467F9-370D-5C4C-9EDE-E0CA0E401568}"/>
                </a:ext>
              </a:extLst>
            </p:cNvPr>
            <p:cNvSpPr/>
            <p:nvPr/>
          </p:nvSpPr>
          <p:spPr>
            <a:xfrm>
              <a:off x="11654256" y="0"/>
              <a:ext cx="537744" cy="562788"/>
            </a:xfrm>
            <a:custGeom>
              <a:avLst/>
              <a:gdLst>
                <a:gd name="connsiteX0" fmla="*/ 21 w 537744"/>
                <a:gd name="connsiteY0" fmla="*/ 0 h 562788"/>
                <a:gd name="connsiteX1" fmla="*/ 537744 w 537744"/>
                <a:gd name="connsiteY1" fmla="*/ 0 h 562788"/>
                <a:gd name="connsiteX2" fmla="*/ 537744 w 537744"/>
                <a:gd name="connsiteY2" fmla="*/ 562788 h 562788"/>
                <a:gd name="connsiteX3" fmla="*/ 451422 w 537744"/>
                <a:gd name="connsiteY3" fmla="*/ 554086 h 562788"/>
                <a:gd name="connsiteX4" fmla="*/ 0 w 537744"/>
                <a:gd name="connsiteY4" fmla="*/ 211 h 562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744" h="562788">
                  <a:moveTo>
                    <a:pt x="21" y="0"/>
                  </a:moveTo>
                  <a:lnTo>
                    <a:pt x="537744" y="0"/>
                  </a:lnTo>
                  <a:lnTo>
                    <a:pt x="537744" y="562788"/>
                  </a:lnTo>
                  <a:lnTo>
                    <a:pt x="451422" y="554086"/>
                  </a:lnTo>
                  <a:cubicBezTo>
                    <a:pt x="193796" y="501368"/>
                    <a:pt x="0" y="273421"/>
                    <a:pt x="0" y="2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B652A1E4-52BA-534C-AECC-35C3CF44F86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315675-65B4-E14F-9785-663A83B7B6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676A1E-2332-684F-BDD2-687C166BDEC0}"/>
              </a:ext>
            </a:extLst>
          </p:cNvPr>
          <p:cNvSpPr>
            <a:spLocks noGrp="1"/>
          </p:cNvSpPr>
          <p:nvPr>
            <p:ph type="dt" sz="half" idx="10"/>
          </p:nvPr>
        </p:nvSpPr>
        <p:spPr/>
        <p:txBody>
          <a:bodyPr/>
          <a:lstStyle/>
          <a:p>
            <a:fld id="{776CE984-3090-41D6-85CE-34964164ABAD}" type="datetime1">
              <a:rPr lang="en-US" smtClean="0"/>
              <a:t>12/11/2023</a:t>
            </a:fld>
            <a:endParaRPr lang="en-US"/>
          </a:p>
        </p:txBody>
      </p:sp>
      <p:sp>
        <p:nvSpPr>
          <p:cNvPr id="5" name="Footer Placeholder 4">
            <a:extLst>
              <a:ext uri="{FF2B5EF4-FFF2-40B4-BE49-F238E27FC236}">
                <a16:creationId xmlns:a16="http://schemas.microsoft.com/office/drawing/2014/main" id="{22BB8CB0-B7BE-7D4F-B254-8A2F8AEC27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E5A569-A063-8E40-B703-82B11D2A988A}"/>
              </a:ext>
            </a:extLst>
          </p:cNvPr>
          <p:cNvSpPr>
            <a:spLocks noGrp="1"/>
          </p:cNvSpPr>
          <p:nvPr>
            <p:ph type="sldNum" sz="quarter" idx="12"/>
          </p:nvPr>
        </p:nvSpPr>
        <p:spPr>
          <a:xfrm>
            <a:off x="7087169" y="6141085"/>
            <a:ext cx="813816" cy="365125"/>
          </a:xfrm>
        </p:spPr>
        <p:txBody>
          <a:bodyPr/>
          <a:lstStyle/>
          <a:p>
            <a:fld id="{49ABCAEC-7D34-E549-A96E-FCEDAADBE4B0}" type="slidenum">
              <a:rPr lang="en-US" smtClean="0"/>
              <a:t>‹#›</a:t>
            </a:fld>
            <a:endParaRPr lang="en-US"/>
          </a:p>
        </p:txBody>
      </p:sp>
      <p:cxnSp>
        <p:nvCxnSpPr>
          <p:cNvPr id="7" name="Straight Connector 6">
            <a:extLst>
              <a:ext uri="{FF2B5EF4-FFF2-40B4-BE49-F238E27FC236}">
                <a16:creationId xmlns:a16="http://schemas.microsoft.com/office/drawing/2014/main" id="{8231D73A-BA91-794F-8C09-4F4B41A6D08B}"/>
              </a:ext>
            </a:extLst>
          </p:cNvPr>
          <p:cNvCxnSpPr>
            <a:cxnSpLocks/>
          </p:cNvCxnSpPr>
          <p:nvPr/>
        </p:nvCxnSpPr>
        <p:spPr>
          <a:xfrm>
            <a:off x="565150" y="6087110"/>
            <a:ext cx="733583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8810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3ABDDED5-B489-454D-A72D-46C9473AB018}"/>
              </a:ext>
            </a:extLst>
          </p:cNvPr>
          <p:cNvGrpSpPr/>
          <p:nvPr/>
        </p:nvGrpSpPr>
        <p:grpSpPr>
          <a:xfrm>
            <a:off x="6201388" y="0"/>
            <a:ext cx="5990612" cy="6858001"/>
            <a:chOff x="6201388" y="0"/>
            <a:chExt cx="5990612" cy="6858001"/>
          </a:xfrm>
        </p:grpSpPr>
        <p:sp>
          <p:nvSpPr>
            <p:cNvPr id="40" name="Oval 39">
              <a:extLst>
                <a:ext uri="{FF2B5EF4-FFF2-40B4-BE49-F238E27FC236}">
                  <a16:creationId xmlns:a16="http://schemas.microsoft.com/office/drawing/2014/main" id="{E6338A9A-49A1-B04D-B479-43604A5CD6D5}"/>
                </a:ext>
              </a:extLst>
            </p:cNvPr>
            <p:cNvSpPr/>
            <p:nvPr/>
          </p:nvSpPr>
          <p:spPr>
            <a:xfrm>
              <a:off x="6201388" y="354939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40">
              <a:extLst>
                <a:ext uri="{FF2B5EF4-FFF2-40B4-BE49-F238E27FC236}">
                  <a16:creationId xmlns:a16="http://schemas.microsoft.com/office/drawing/2014/main" id="{3151B6D8-101B-F34D-992A-1668DB5D0067}"/>
                </a:ext>
              </a:extLst>
            </p:cNvPr>
            <p:cNvSpPr/>
            <p:nvPr/>
          </p:nvSpPr>
          <p:spPr>
            <a:xfrm>
              <a:off x="6201389" y="1"/>
              <a:ext cx="1130725" cy="565575"/>
            </a:xfrm>
            <a:custGeom>
              <a:avLst/>
              <a:gdLst>
                <a:gd name="connsiteX0" fmla="*/ 21 w 1130725"/>
                <a:gd name="connsiteY0" fmla="*/ 0 h 565575"/>
                <a:gd name="connsiteX1" fmla="*/ 1130704 w 1130725"/>
                <a:gd name="connsiteY1" fmla="*/ 0 h 565575"/>
                <a:gd name="connsiteX2" fmla="*/ 1130725 w 1130725"/>
                <a:gd name="connsiteY2" fmla="*/ 213 h 565575"/>
                <a:gd name="connsiteX3" fmla="*/ 565362 w 1130725"/>
                <a:gd name="connsiteY3" fmla="*/ 565575 h 565575"/>
                <a:gd name="connsiteX4" fmla="*/ 0 w 1130725"/>
                <a:gd name="connsiteY4" fmla="*/ 213 h 565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5" h="565575">
                  <a:moveTo>
                    <a:pt x="21" y="0"/>
                  </a:moveTo>
                  <a:lnTo>
                    <a:pt x="1130704" y="0"/>
                  </a:lnTo>
                  <a:lnTo>
                    <a:pt x="1130725" y="213"/>
                  </a:lnTo>
                  <a:cubicBezTo>
                    <a:pt x="1130725" y="312454"/>
                    <a:pt x="877604" y="565575"/>
                    <a:pt x="565362" y="565575"/>
                  </a:cubicBezTo>
                  <a:cubicBezTo>
                    <a:pt x="253121" y="565575"/>
                    <a:pt x="0" y="312454"/>
                    <a:pt x="0" y="21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2" name="Freeform 41">
              <a:extLst>
                <a:ext uri="{FF2B5EF4-FFF2-40B4-BE49-F238E27FC236}">
                  <a16:creationId xmlns:a16="http://schemas.microsoft.com/office/drawing/2014/main" id="{21D4DE71-EB1A-E74C-9364-5FEC5377F4EF}"/>
                </a:ext>
              </a:extLst>
            </p:cNvPr>
            <p:cNvSpPr/>
            <p:nvPr/>
          </p:nvSpPr>
          <p:spPr>
            <a:xfrm>
              <a:off x="7564255" y="6292426"/>
              <a:ext cx="1130723" cy="565575"/>
            </a:xfrm>
            <a:custGeom>
              <a:avLst/>
              <a:gdLst>
                <a:gd name="connsiteX0" fmla="*/ 565362 w 1130723"/>
                <a:gd name="connsiteY0" fmla="*/ 0 h 565575"/>
                <a:gd name="connsiteX1" fmla="*/ 1130723 w 1130723"/>
                <a:gd name="connsiteY1" fmla="*/ 565362 h 565575"/>
                <a:gd name="connsiteX2" fmla="*/ 1130702 w 1130723"/>
                <a:gd name="connsiteY2" fmla="*/ 565575 h 565575"/>
                <a:gd name="connsiteX3" fmla="*/ 21 w 1130723"/>
                <a:gd name="connsiteY3" fmla="*/ 565575 h 565575"/>
                <a:gd name="connsiteX4" fmla="*/ 0 w 1130723"/>
                <a:gd name="connsiteY4" fmla="*/ 565362 h 565575"/>
                <a:gd name="connsiteX5" fmla="*/ 565362 w 1130723"/>
                <a:gd name="connsiteY5" fmla="*/ 0 h 56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723" h="565575">
                  <a:moveTo>
                    <a:pt x="565362" y="0"/>
                  </a:moveTo>
                  <a:cubicBezTo>
                    <a:pt x="877602" y="0"/>
                    <a:pt x="1130723" y="253121"/>
                    <a:pt x="1130723" y="565362"/>
                  </a:cubicBezTo>
                  <a:lnTo>
                    <a:pt x="1130702" y="565575"/>
                  </a:lnTo>
                  <a:lnTo>
                    <a:pt x="21" y="565575"/>
                  </a:lnTo>
                  <a:lnTo>
                    <a:pt x="0" y="565362"/>
                  </a:lnTo>
                  <a:cubicBezTo>
                    <a:pt x="0" y="253121"/>
                    <a:pt x="253120" y="0"/>
                    <a:pt x="56536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Oval 42">
              <a:extLst>
                <a:ext uri="{FF2B5EF4-FFF2-40B4-BE49-F238E27FC236}">
                  <a16:creationId xmlns:a16="http://schemas.microsoft.com/office/drawing/2014/main" id="{BD99A5CD-9D3A-DA46-AD96-34B9DB522051}"/>
                </a:ext>
              </a:extLst>
            </p:cNvPr>
            <p:cNvSpPr/>
            <p:nvPr/>
          </p:nvSpPr>
          <p:spPr>
            <a:xfrm>
              <a:off x="7564253" y="354939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E6537DF9-74F2-924C-9B63-22B100C80C92}"/>
                </a:ext>
              </a:extLst>
            </p:cNvPr>
            <p:cNvSpPr/>
            <p:nvPr/>
          </p:nvSpPr>
          <p:spPr>
            <a:xfrm>
              <a:off x="7564253" y="2177881"/>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D7655457-8E4D-F34C-A595-66A45E9C3A1F}"/>
                </a:ext>
              </a:extLst>
            </p:cNvPr>
            <p:cNvSpPr/>
            <p:nvPr/>
          </p:nvSpPr>
          <p:spPr>
            <a:xfrm>
              <a:off x="7564253" y="806366"/>
              <a:ext cx="1130725" cy="11307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a:extLst>
                <a:ext uri="{FF2B5EF4-FFF2-40B4-BE49-F238E27FC236}">
                  <a16:creationId xmlns:a16="http://schemas.microsoft.com/office/drawing/2014/main" id="{FB0E8D2C-8947-E44C-BC5F-F81B083DAA3E}"/>
                </a:ext>
              </a:extLst>
            </p:cNvPr>
            <p:cNvSpPr/>
            <p:nvPr/>
          </p:nvSpPr>
          <p:spPr>
            <a:xfrm>
              <a:off x="7564254" y="1"/>
              <a:ext cx="1130725" cy="565575"/>
            </a:xfrm>
            <a:custGeom>
              <a:avLst/>
              <a:gdLst>
                <a:gd name="connsiteX0" fmla="*/ 21 w 1130725"/>
                <a:gd name="connsiteY0" fmla="*/ 0 h 565575"/>
                <a:gd name="connsiteX1" fmla="*/ 1130704 w 1130725"/>
                <a:gd name="connsiteY1" fmla="*/ 0 h 565575"/>
                <a:gd name="connsiteX2" fmla="*/ 1130725 w 1130725"/>
                <a:gd name="connsiteY2" fmla="*/ 213 h 565575"/>
                <a:gd name="connsiteX3" fmla="*/ 565363 w 1130725"/>
                <a:gd name="connsiteY3" fmla="*/ 565575 h 565575"/>
                <a:gd name="connsiteX4" fmla="*/ 0 w 1130725"/>
                <a:gd name="connsiteY4" fmla="*/ 213 h 565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5" h="565575">
                  <a:moveTo>
                    <a:pt x="21" y="0"/>
                  </a:moveTo>
                  <a:lnTo>
                    <a:pt x="1130704" y="0"/>
                  </a:lnTo>
                  <a:lnTo>
                    <a:pt x="1130725" y="213"/>
                  </a:lnTo>
                  <a:cubicBezTo>
                    <a:pt x="1130725" y="312454"/>
                    <a:pt x="877603" y="565575"/>
                    <a:pt x="565363" y="565575"/>
                  </a:cubicBezTo>
                  <a:cubicBezTo>
                    <a:pt x="253121" y="565575"/>
                    <a:pt x="0" y="312454"/>
                    <a:pt x="0" y="21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7" name="Freeform 46">
              <a:extLst>
                <a:ext uri="{FF2B5EF4-FFF2-40B4-BE49-F238E27FC236}">
                  <a16:creationId xmlns:a16="http://schemas.microsoft.com/office/drawing/2014/main" id="{ED57F45D-85B8-AC49-A2BA-E941F1BE7F15}"/>
                </a:ext>
              </a:extLst>
            </p:cNvPr>
            <p:cNvSpPr/>
            <p:nvPr/>
          </p:nvSpPr>
          <p:spPr>
            <a:xfrm>
              <a:off x="8927118" y="6292426"/>
              <a:ext cx="1130724" cy="565575"/>
            </a:xfrm>
            <a:custGeom>
              <a:avLst/>
              <a:gdLst>
                <a:gd name="connsiteX0" fmla="*/ 565362 w 1130724"/>
                <a:gd name="connsiteY0" fmla="*/ 0 h 565575"/>
                <a:gd name="connsiteX1" fmla="*/ 1130724 w 1130724"/>
                <a:gd name="connsiteY1" fmla="*/ 565362 h 565575"/>
                <a:gd name="connsiteX2" fmla="*/ 1130703 w 1130724"/>
                <a:gd name="connsiteY2" fmla="*/ 565575 h 565575"/>
                <a:gd name="connsiteX3" fmla="*/ 22 w 1130724"/>
                <a:gd name="connsiteY3" fmla="*/ 565575 h 565575"/>
                <a:gd name="connsiteX4" fmla="*/ 0 w 1130724"/>
                <a:gd name="connsiteY4" fmla="*/ 565362 h 565575"/>
                <a:gd name="connsiteX5" fmla="*/ 565362 w 1130724"/>
                <a:gd name="connsiteY5" fmla="*/ 0 h 56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724" h="565575">
                  <a:moveTo>
                    <a:pt x="565362" y="0"/>
                  </a:moveTo>
                  <a:cubicBezTo>
                    <a:pt x="877603" y="0"/>
                    <a:pt x="1130724" y="253121"/>
                    <a:pt x="1130724" y="565362"/>
                  </a:cubicBezTo>
                  <a:lnTo>
                    <a:pt x="1130703" y="565575"/>
                  </a:lnTo>
                  <a:lnTo>
                    <a:pt x="22" y="565575"/>
                  </a:lnTo>
                  <a:lnTo>
                    <a:pt x="0" y="565362"/>
                  </a:lnTo>
                  <a:cubicBezTo>
                    <a:pt x="0" y="253121"/>
                    <a:pt x="253121" y="0"/>
                    <a:pt x="56536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8" name="Oval 47">
              <a:extLst>
                <a:ext uri="{FF2B5EF4-FFF2-40B4-BE49-F238E27FC236}">
                  <a16:creationId xmlns:a16="http://schemas.microsoft.com/office/drawing/2014/main" id="{DA576359-CAE3-634C-8DF8-A834BCD7D668}"/>
                </a:ext>
              </a:extLst>
            </p:cNvPr>
            <p:cNvSpPr/>
            <p:nvPr/>
          </p:nvSpPr>
          <p:spPr>
            <a:xfrm>
              <a:off x="8927118" y="4920911"/>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16343F35-6601-BD4A-B9A5-25361D0453D2}"/>
                </a:ext>
              </a:extLst>
            </p:cNvPr>
            <p:cNvSpPr/>
            <p:nvPr/>
          </p:nvSpPr>
          <p:spPr>
            <a:xfrm>
              <a:off x="8927118" y="3549396"/>
              <a:ext cx="1130725" cy="11307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5ED1C169-DCD9-9C4B-91B1-519621155A64}"/>
                </a:ext>
              </a:extLst>
            </p:cNvPr>
            <p:cNvSpPr/>
            <p:nvPr/>
          </p:nvSpPr>
          <p:spPr>
            <a:xfrm>
              <a:off x="8927118" y="2177881"/>
              <a:ext cx="1130725" cy="11307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32328AC7-E0BC-0E46-A25B-11D523EC8100}"/>
                </a:ext>
              </a:extLst>
            </p:cNvPr>
            <p:cNvSpPr/>
            <p:nvPr/>
          </p:nvSpPr>
          <p:spPr>
            <a:xfrm>
              <a:off x="8927118" y="80636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eform 51">
              <a:extLst>
                <a:ext uri="{FF2B5EF4-FFF2-40B4-BE49-F238E27FC236}">
                  <a16:creationId xmlns:a16="http://schemas.microsoft.com/office/drawing/2014/main" id="{32BBE02A-588F-6C4D-B310-694098C6A340}"/>
                </a:ext>
              </a:extLst>
            </p:cNvPr>
            <p:cNvSpPr/>
            <p:nvPr/>
          </p:nvSpPr>
          <p:spPr>
            <a:xfrm>
              <a:off x="8927117" y="0"/>
              <a:ext cx="1130726" cy="565576"/>
            </a:xfrm>
            <a:custGeom>
              <a:avLst/>
              <a:gdLst>
                <a:gd name="connsiteX0" fmla="*/ 22 w 1130726"/>
                <a:gd name="connsiteY0" fmla="*/ 0 h 565576"/>
                <a:gd name="connsiteX1" fmla="*/ 1130704 w 1130726"/>
                <a:gd name="connsiteY1" fmla="*/ 0 h 565576"/>
                <a:gd name="connsiteX2" fmla="*/ 1130726 w 1130726"/>
                <a:gd name="connsiteY2" fmla="*/ 214 h 565576"/>
                <a:gd name="connsiteX3" fmla="*/ 565363 w 1130726"/>
                <a:gd name="connsiteY3" fmla="*/ 565576 h 565576"/>
                <a:gd name="connsiteX4" fmla="*/ 0 w 1130726"/>
                <a:gd name="connsiteY4" fmla="*/ 214 h 56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6" h="565576">
                  <a:moveTo>
                    <a:pt x="22" y="0"/>
                  </a:moveTo>
                  <a:lnTo>
                    <a:pt x="1130704" y="0"/>
                  </a:lnTo>
                  <a:lnTo>
                    <a:pt x="1130726" y="214"/>
                  </a:lnTo>
                  <a:cubicBezTo>
                    <a:pt x="1130726" y="312455"/>
                    <a:pt x="877604" y="565576"/>
                    <a:pt x="565363" y="565576"/>
                  </a:cubicBezTo>
                  <a:cubicBezTo>
                    <a:pt x="253122" y="565576"/>
                    <a:pt x="0" y="312455"/>
                    <a:pt x="0" y="21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3" name="Freeform 52">
              <a:extLst>
                <a:ext uri="{FF2B5EF4-FFF2-40B4-BE49-F238E27FC236}">
                  <a16:creationId xmlns:a16="http://schemas.microsoft.com/office/drawing/2014/main" id="{6751D5A0-C90A-0A44-8654-CFE1B719B353}"/>
                </a:ext>
              </a:extLst>
            </p:cNvPr>
            <p:cNvSpPr/>
            <p:nvPr/>
          </p:nvSpPr>
          <p:spPr>
            <a:xfrm>
              <a:off x="10289984" y="6292426"/>
              <a:ext cx="1130724" cy="565575"/>
            </a:xfrm>
            <a:custGeom>
              <a:avLst/>
              <a:gdLst>
                <a:gd name="connsiteX0" fmla="*/ 565362 w 1130724"/>
                <a:gd name="connsiteY0" fmla="*/ 0 h 565575"/>
                <a:gd name="connsiteX1" fmla="*/ 1130724 w 1130724"/>
                <a:gd name="connsiteY1" fmla="*/ 565362 h 565575"/>
                <a:gd name="connsiteX2" fmla="*/ 1130703 w 1130724"/>
                <a:gd name="connsiteY2" fmla="*/ 565575 h 565575"/>
                <a:gd name="connsiteX3" fmla="*/ 21 w 1130724"/>
                <a:gd name="connsiteY3" fmla="*/ 565575 h 565575"/>
                <a:gd name="connsiteX4" fmla="*/ 0 w 1130724"/>
                <a:gd name="connsiteY4" fmla="*/ 565362 h 565575"/>
                <a:gd name="connsiteX5" fmla="*/ 565362 w 1130724"/>
                <a:gd name="connsiteY5" fmla="*/ 0 h 56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724" h="565575">
                  <a:moveTo>
                    <a:pt x="565362" y="0"/>
                  </a:moveTo>
                  <a:cubicBezTo>
                    <a:pt x="877603" y="0"/>
                    <a:pt x="1130724" y="253121"/>
                    <a:pt x="1130724" y="565362"/>
                  </a:cubicBezTo>
                  <a:lnTo>
                    <a:pt x="1130703" y="565575"/>
                  </a:lnTo>
                  <a:lnTo>
                    <a:pt x="21" y="565575"/>
                  </a:lnTo>
                  <a:lnTo>
                    <a:pt x="0" y="565362"/>
                  </a:lnTo>
                  <a:cubicBezTo>
                    <a:pt x="0" y="253121"/>
                    <a:pt x="253121" y="0"/>
                    <a:pt x="56536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4" name="Oval 53">
              <a:extLst>
                <a:ext uri="{FF2B5EF4-FFF2-40B4-BE49-F238E27FC236}">
                  <a16:creationId xmlns:a16="http://schemas.microsoft.com/office/drawing/2014/main" id="{0F0FA086-0D80-B74A-9B37-5EACDE30D61F}"/>
                </a:ext>
              </a:extLst>
            </p:cNvPr>
            <p:cNvSpPr/>
            <p:nvPr/>
          </p:nvSpPr>
          <p:spPr>
            <a:xfrm>
              <a:off x="10289984" y="4920911"/>
              <a:ext cx="1130725" cy="11307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7022E302-2A55-8844-A50B-DC16D075E16B}"/>
                </a:ext>
              </a:extLst>
            </p:cNvPr>
            <p:cNvSpPr/>
            <p:nvPr/>
          </p:nvSpPr>
          <p:spPr>
            <a:xfrm>
              <a:off x="10289984" y="354939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F4B325F5-A048-2843-A40B-3B2B31ECED76}"/>
                </a:ext>
              </a:extLst>
            </p:cNvPr>
            <p:cNvSpPr/>
            <p:nvPr/>
          </p:nvSpPr>
          <p:spPr>
            <a:xfrm>
              <a:off x="10289984" y="806366"/>
              <a:ext cx="1130725" cy="11307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56">
              <a:extLst>
                <a:ext uri="{FF2B5EF4-FFF2-40B4-BE49-F238E27FC236}">
                  <a16:creationId xmlns:a16="http://schemas.microsoft.com/office/drawing/2014/main" id="{7707B616-7E85-5442-B46B-AF9426A7A0E9}"/>
                </a:ext>
              </a:extLst>
            </p:cNvPr>
            <p:cNvSpPr/>
            <p:nvPr/>
          </p:nvSpPr>
          <p:spPr>
            <a:xfrm>
              <a:off x="10289983" y="0"/>
              <a:ext cx="1130726" cy="565576"/>
            </a:xfrm>
            <a:custGeom>
              <a:avLst/>
              <a:gdLst>
                <a:gd name="connsiteX0" fmla="*/ 21 w 1130726"/>
                <a:gd name="connsiteY0" fmla="*/ 0 h 565576"/>
                <a:gd name="connsiteX1" fmla="*/ 1130704 w 1130726"/>
                <a:gd name="connsiteY1" fmla="*/ 0 h 565576"/>
                <a:gd name="connsiteX2" fmla="*/ 1130726 w 1130726"/>
                <a:gd name="connsiteY2" fmla="*/ 214 h 565576"/>
                <a:gd name="connsiteX3" fmla="*/ 565363 w 1130726"/>
                <a:gd name="connsiteY3" fmla="*/ 565576 h 565576"/>
                <a:gd name="connsiteX4" fmla="*/ 0 w 1130726"/>
                <a:gd name="connsiteY4" fmla="*/ 214 h 565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6" h="565576">
                  <a:moveTo>
                    <a:pt x="21" y="0"/>
                  </a:moveTo>
                  <a:lnTo>
                    <a:pt x="1130704" y="0"/>
                  </a:lnTo>
                  <a:lnTo>
                    <a:pt x="1130726" y="214"/>
                  </a:lnTo>
                  <a:cubicBezTo>
                    <a:pt x="1130726" y="312455"/>
                    <a:pt x="877604" y="565576"/>
                    <a:pt x="565363" y="565576"/>
                  </a:cubicBezTo>
                  <a:cubicBezTo>
                    <a:pt x="253122" y="565576"/>
                    <a:pt x="0" y="312455"/>
                    <a:pt x="0" y="214"/>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8" name="Freeform 57">
              <a:extLst>
                <a:ext uri="{FF2B5EF4-FFF2-40B4-BE49-F238E27FC236}">
                  <a16:creationId xmlns:a16="http://schemas.microsoft.com/office/drawing/2014/main" id="{08914A00-D181-5847-A150-77CE67F94369}"/>
                </a:ext>
              </a:extLst>
            </p:cNvPr>
            <p:cNvSpPr/>
            <p:nvPr/>
          </p:nvSpPr>
          <p:spPr>
            <a:xfrm>
              <a:off x="11652854" y="6295069"/>
              <a:ext cx="539146" cy="562931"/>
            </a:xfrm>
            <a:custGeom>
              <a:avLst/>
              <a:gdLst>
                <a:gd name="connsiteX0" fmla="*/ 539146 w 539146"/>
                <a:gd name="connsiteY0" fmla="*/ 0 h 562931"/>
                <a:gd name="connsiteX1" fmla="*/ 539146 w 539146"/>
                <a:gd name="connsiteY1" fmla="*/ 562931 h 562931"/>
                <a:gd name="connsiteX2" fmla="*/ 21 w 539146"/>
                <a:gd name="connsiteY2" fmla="*/ 562931 h 562931"/>
                <a:gd name="connsiteX3" fmla="*/ 0 w 539146"/>
                <a:gd name="connsiteY3" fmla="*/ 562719 h 562931"/>
                <a:gd name="connsiteX4" fmla="*/ 451422 w 539146"/>
                <a:gd name="connsiteY4" fmla="*/ 8843 h 562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6" h="562931">
                  <a:moveTo>
                    <a:pt x="539146" y="0"/>
                  </a:moveTo>
                  <a:lnTo>
                    <a:pt x="539146" y="562931"/>
                  </a:lnTo>
                  <a:lnTo>
                    <a:pt x="21" y="562931"/>
                  </a:lnTo>
                  <a:lnTo>
                    <a:pt x="0" y="562719"/>
                  </a:lnTo>
                  <a:cubicBezTo>
                    <a:pt x="0" y="289508"/>
                    <a:pt x="193796" y="61561"/>
                    <a:pt x="451422" y="884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9" name="Freeform 58">
              <a:extLst>
                <a:ext uri="{FF2B5EF4-FFF2-40B4-BE49-F238E27FC236}">
                  <a16:creationId xmlns:a16="http://schemas.microsoft.com/office/drawing/2014/main" id="{DAF2D976-5F49-2848-B465-C85708A6D706}"/>
                </a:ext>
              </a:extLst>
            </p:cNvPr>
            <p:cNvSpPr/>
            <p:nvPr/>
          </p:nvSpPr>
          <p:spPr>
            <a:xfrm>
              <a:off x="11652853" y="4923555"/>
              <a:ext cx="539147" cy="1125439"/>
            </a:xfrm>
            <a:custGeom>
              <a:avLst/>
              <a:gdLst>
                <a:gd name="connsiteX0" fmla="*/ 539147 w 539147"/>
                <a:gd name="connsiteY0" fmla="*/ 0 h 1125439"/>
                <a:gd name="connsiteX1" fmla="*/ 539147 w 539147"/>
                <a:gd name="connsiteY1" fmla="*/ 1125439 h 1125439"/>
                <a:gd name="connsiteX2" fmla="*/ 451423 w 539147"/>
                <a:gd name="connsiteY2" fmla="*/ 1116595 h 1125439"/>
                <a:gd name="connsiteX3" fmla="*/ 0 w 539147"/>
                <a:gd name="connsiteY3" fmla="*/ 562719 h 1125439"/>
                <a:gd name="connsiteX4" fmla="*/ 451423 w 539147"/>
                <a:gd name="connsiteY4" fmla="*/ 8843 h 1125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1125439">
                  <a:moveTo>
                    <a:pt x="539147" y="0"/>
                  </a:moveTo>
                  <a:lnTo>
                    <a:pt x="539147" y="1125439"/>
                  </a:lnTo>
                  <a:lnTo>
                    <a:pt x="451423" y="1116595"/>
                  </a:lnTo>
                  <a:cubicBezTo>
                    <a:pt x="193797" y="1063877"/>
                    <a:pt x="0" y="835930"/>
                    <a:pt x="0" y="562719"/>
                  </a:cubicBezTo>
                  <a:cubicBezTo>
                    <a:pt x="0" y="289508"/>
                    <a:pt x="193797" y="61561"/>
                    <a:pt x="451423" y="884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0" name="Freeform 59">
              <a:extLst>
                <a:ext uri="{FF2B5EF4-FFF2-40B4-BE49-F238E27FC236}">
                  <a16:creationId xmlns:a16="http://schemas.microsoft.com/office/drawing/2014/main" id="{5E333474-B850-354C-A2E2-01735C948D47}"/>
                </a:ext>
              </a:extLst>
            </p:cNvPr>
            <p:cNvSpPr/>
            <p:nvPr/>
          </p:nvSpPr>
          <p:spPr>
            <a:xfrm>
              <a:off x="11652853" y="3552039"/>
              <a:ext cx="539147" cy="1125438"/>
            </a:xfrm>
            <a:custGeom>
              <a:avLst/>
              <a:gdLst>
                <a:gd name="connsiteX0" fmla="*/ 539147 w 539147"/>
                <a:gd name="connsiteY0" fmla="*/ 0 h 1125438"/>
                <a:gd name="connsiteX1" fmla="*/ 539147 w 539147"/>
                <a:gd name="connsiteY1" fmla="*/ 1125438 h 1125438"/>
                <a:gd name="connsiteX2" fmla="*/ 451423 w 539147"/>
                <a:gd name="connsiteY2" fmla="*/ 1116595 h 1125438"/>
                <a:gd name="connsiteX3" fmla="*/ 0 w 539147"/>
                <a:gd name="connsiteY3" fmla="*/ 562719 h 1125438"/>
                <a:gd name="connsiteX4" fmla="*/ 451423 w 539147"/>
                <a:gd name="connsiteY4" fmla="*/ 8843 h 1125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1125438">
                  <a:moveTo>
                    <a:pt x="539147" y="0"/>
                  </a:moveTo>
                  <a:lnTo>
                    <a:pt x="539147" y="1125438"/>
                  </a:lnTo>
                  <a:lnTo>
                    <a:pt x="451423" y="1116595"/>
                  </a:lnTo>
                  <a:cubicBezTo>
                    <a:pt x="193797" y="1063877"/>
                    <a:pt x="0" y="835930"/>
                    <a:pt x="0" y="562719"/>
                  </a:cubicBezTo>
                  <a:cubicBezTo>
                    <a:pt x="0" y="289508"/>
                    <a:pt x="193797" y="61561"/>
                    <a:pt x="451423" y="884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1" name="Freeform 60">
              <a:extLst>
                <a:ext uri="{FF2B5EF4-FFF2-40B4-BE49-F238E27FC236}">
                  <a16:creationId xmlns:a16="http://schemas.microsoft.com/office/drawing/2014/main" id="{BC25646C-71B3-4A44-A4FE-C3CABE5580BB}"/>
                </a:ext>
              </a:extLst>
            </p:cNvPr>
            <p:cNvSpPr/>
            <p:nvPr/>
          </p:nvSpPr>
          <p:spPr>
            <a:xfrm>
              <a:off x="11652853" y="2180524"/>
              <a:ext cx="539147" cy="1125438"/>
            </a:xfrm>
            <a:custGeom>
              <a:avLst/>
              <a:gdLst>
                <a:gd name="connsiteX0" fmla="*/ 539147 w 539147"/>
                <a:gd name="connsiteY0" fmla="*/ 0 h 1125438"/>
                <a:gd name="connsiteX1" fmla="*/ 539147 w 539147"/>
                <a:gd name="connsiteY1" fmla="*/ 1125438 h 1125438"/>
                <a:gd name="connsiteX2" fmla="*/ 451423 w 539147"/>
                <a:gd name="connsiteY2" fmla="*/ 1116595 h 1125438"/>
                <a:gd name="connsiteX3" fmla="*/ 0 w 539147"/>
                <a:gd name="connsiteY3" fmla="*/ 562719 h 1125438"/>
                <a:gd name="connsiteX4" fmla="*/ 451423 w 539147"/>
                <a:gd name="connsiteY4" fmla="*/ 8843 h 1125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1125438">
                  <a:moveTo>
                    <a:pt x="539147" y="0"/>
                  </a:moveTo>
                  <a:lnTo>
                    <a:pt x="539147" y="1125438"/>
                  </a:lnTo>
                  <a:lnTo>
                    <a:pt x="451423" y="1116595"/>
                  </a:lnTo>
                  <a:cubicBezTo>
                    <a:pt x="193797" y="1063877"/>
                    <a:pt x="0" y="835930"/>
                    <a:pt x="0" y="562719"/>
                  </a:cubicBezTo>
                  <a:cubicBezTo>
                    <a:pt x="0" y="289509"/>
                    <a:pt x="193797" y="61561"/>
                    <a:pt x="451423" y="884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2" name="Freeform 61">
              <a:extLst>
                <a:ext uri="{FF2B5EF4-FFF2-40B4-BE49-F238E27FC236}">
                  <a16:creationId xmlns:a16="http://schemas.microsoft.com/office/drawing/2014/main" id="{B598CFE9-67EE-E342-9EF7-F40A1E0BE59E}"/>
                </a:ext>
              </a:extLst>
            </p:cNvPr>
            <p:cNvSpPr/>
            <p:nvPr/>
          </p:nvSpPr>
          <p:spPr>
            <a:xfrm>
              <a:off x="11652853" y="809010"/>
              <a:ext cx="539147" cy="1125439"/>
            </a:xfrm>
            <a:custGeom>
              <a:avLst/>
              <a:gdLst>
                <a:gd name="connsiteX0" fmla="*/ 539147 w 539147"/>
                <a:gd name="connsiteY0" fmla="*/ 0 h 1125439"/>
                <a:gd name="connsiteX1" fmla="*/ 539147 w 539147"/>
                <a:gd name="connsiteY1" fmla="*/ 1125439 h 1125439"/>
                <a:gd name="connsiteX2" fmla="*/ 451423 w 539147"/>
                <a:gd name="connsiteY2" fmla="*/ 1116595 h 1125439"/>
                <a:gd name="connsiteX3" fmla="*/ 0 w 539147"/>
                <a:gd name="connsiteY3" fmla="*/ 562719 h 1125439"/>
                <a:gd name="connsiteX4" fmla="*/ 451423 w 539147"/>
                <a:gd name="connsiteY4" fmla="*/ 8843 h 1125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1125439">
                  <a:moveTo>
                    <a:pt x="539147" y="0"/>
                  </a:moveTo>
                  <a:lnTo>
                    <a:pt x="539147" y="1125439"/>
                  </a:lnTo>
                  <a:lnTo>
                    <a:pt x="451423" y="1116595"/>
                  </a:lnTo>
                  <a:cubicBezTo>
                    <a:pt x="193797" y="1063877"/>
                    <a:pt x="0" y="835930"/>
                    <a:pt x="0" y="562719"/>
                  </a:cubicBezTo>
                  <a:cubicBezTo>
                    <a:pt x="0" y="289508"/>
                    <a:pt x="193797" y="61561"/>
                    <a:pt x="451423" y="884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3" name="Freeform 62">
              <a:extLst>
                <a:ext uri="{FF2B5EF4-FFF2-40B4-BE49-F238E27FC236}">
                  <a16:creationId xmlns:a16="http://schemas.microsoft.com/office/drawing/2014/main" id="{1E29AD13-94FE-1349-A28E-10F6E780F510}"/>
                </a:ext>
              </a:extLst>
            </p:cNvPr>
            <p:cNvSpPr/>
            <p:nvPr/>
          </p:nvSpPr>
          <p:spPr>
            <a:xfrm>
              <a:off x="11652853" y="1"/>
              <a:ext cx="539147" cy="562933"/>
            </a:xfrm>
            <a:custGeom>
              <a:avLst/>
              <a:gdLst>
                <a:gd name="connsiteX0" fmla="*/ 22 w 539147"/>
                <a:gd name="connsiteY0" fmla="*/ 0 h 562933"/>
                <a:gd name="connsiteX1" fmla="*/ 539147 w 539147"/>
                <a:gd name="connsiteY1" fmla="*/ 0 h 562933"/>
                <a:gd name="connsiteX2" fmla="*/ 539147 w 539147"/>
                <a:gd name="connsiteY2" fmla="*/ 562933 h 562933"/>
                <a:gd name="connsiteX3" fmla="*/ 451423 w 539147"/>
                <a:gd name="connsiteY3" fmla="*/ 554090 h 562933"/>
                <a:gd name="connsiteX4" fmla="*/ 0 w 539147"/>
                <a:gd name="connsiteY4" fmla="*/ 214 h 562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47" h="562933">
                  <a:moveTo>
                    <a:pt x="22" y="0"/>
                  </a:moveTo>
                  <a:lnTo>
                    <a:pt x="539147" y="0"/>
                  </a:lnTo>
                  <a:lnTo>
                    <a:pt x="539147" y="562933"/>
                  </a:lnTo>
                  <a:lnTo>
                    <a:pt x="451423" y="554090"/>
                  </a:lnTo>
                  <a:cubicBezTo>
                    <a:pt x="193797" y="501372"/>
                    <a:pt x="0" y="273425"/>
                    <a:pt x="0" y="214"/>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B650648E-B4D5-4145-84E7-46B5793EA68B}"/>
              </a:ext>
            </a:extLst>
          </p:cNvPr>
          <p:cNvSpPr>
            <a:spLocks noGrp="1"/>
          </p:cNvSpPr>
          <p:nvPr>
            <p:ph type="title"/>
          </p:nvPr>
        </p:nvSpPr>
        <p:spPr>
          <a:xfrm>
            <a:off x="565150" y="768351"/>
            <a:ext cx="5066001" cy="2334768"/>
          </a:xfrm>
        </p:spPr>
        <p:txBody>
          <a:bodyPr anchor="t"/>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3E3B92A6-7558-3148-B855-5BC58B4159C5}"/>
              </a:ext>
            </a:extLst>
          </p:cNvPr>
          <p:cNvSpPr>
            <a:spLocks noGrp="1"/>
          </p:cNvSpPr>
          <p:nvPr>
            <p:ph type="body" idx="1"/>
          </p:nvPr>
        </p:nvSpPr>
        <p:spPr>
          <a:xfrm>
            <a:off x="565150" y="4255453"/>
            <a:ext cx="5066001" cy="1500187"/>
          </a:xfrm>
        </p:spPr>
        <p:txBody>
          <a:bodyPr anchor="b"/>
          <a:lstStyle>
            <a:lvl1pPr marL="0" indent="0">
              <a:buNone/>
              <a:defRPr sz="2400">
                <a:solidFill>
                  <a:schemeClr val="bg1">
                    <a:lumMod val="6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3A0B541-D211-974B-97FE-C1F9473ABE9D}"/>
              </a:ext>
            </a:extLst>
          </p:cNvPr>
          <p:cNvSpPr>
            <a:spLocks noGrp="1"/>
          </p:cNvSpPr>
          <p:nvPr>
            <p:ph type="dt" sz="half" idx="10"/>
          </p:nvPr>
        </p:nvSpPr>
        <p:spPr/>
        <p:txBody>
          <a:bodyPr/>
          <a:lstStyle/>
          <a:p>
            <a:fld id="{BC94E4DE-93B6-4F50-964E-2110A2C54CDE}" type="datetime1">
              <a:rPr lang="en-US" smtClean="0"/>
              <a:t>12/11/2023</a:t>
            </a:fld>
            <a:endParaRPr lang="en-US"/>
          </a:p>
        </p:txBody>
      </p:sp>
      <p:sp>
        <p:nvSpPr>
          <p:cNvPr id="5" name="Footer Placeholder 4">
            <a:extLst>
              <a:ext uri="{FF2B5EF4-FFF2-40B4-BE49-F238E27FC236}">
                <a16:creationId xmlns:a16="http://schemas.microsoft.com/office/drawing/2014/main" id="{A1727FB0-D95A-D543-8E29-6E5F22B491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9C4404-F49D-9F48-A10B-1F60870B4450}"/>
              </a:ext>
            </a:extLst>
          </p:cNvPr>
          <p:cNvSpPr>
            <a:spLocks noGrp="1"/>
          </p:cNvSpPr>
          <p:nvPr>
            <p:ph type="sldNum" sz="quarter" idx="12"/>
          </p:nvPr>
        </p:nvSpPr>
        <p:spPr>
          <a:xfrm>
            <a:off x="4817335" y="6141085"/>
            <a:ext cx="813816" cy="365125"/>
          </a:xfrm>
        </p:spPr>
        <p:txBody>
          <a:bodyPr/>
          <a:lstStyle/>
          <a:p>
            <a:fld id="{49ABCAEC-7D34-E549-A96E-FCEDAADBE4B0}" type="slidenum">
              <a:rPr lang="en-US" smtClean="0"/>
              <a:t>‹#›</a:t>
            </a:fld>
            <a:endParaRPr lang="en-US"/>
          </a:p>
        </p:txBody>
      </p:sp>
      <p:cxnSp>
        <p:nvCxnSpPr>
          <p:cNvPr id="7" name="Straight Connector 6">
            <a:extLst>
              <a:ext uri="{FF2B5EF4-FFF2-40B4-BE49-F238E27FC236}">
                <a16:creationId xmlns:a16="http://schemas.microsoft.com/office/drawing/2014/main" id="{2D6A1FD1-D82F-3141-8687-8D7C0631C215}"/>
              </a:ext>
            </a:extLst>
          </p:cNvPr>
          <p:cNvCxnSpPr>
            <a:cxnSpLocks/>
          </p:cNvCxnSpPr>
          <p:nvPr/>
        </p:nvCxnSpPr>
        <p:spPr>
          <a:xfrm>
            <a:off x="565150" y="6087110"/>
            <a:ext cx="5066001"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6402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442ECFEB-12CF-4C4F-BC8A-5816C27CA565}"/>
              </a:ext>
            </a:extLst>
          </p:cNvPr>
          <p:cNvGrpSpPr/>
          <p:nvPr/>
        </p:nvGrpSpPr>
        <p:grpSpPr>
          <a:xfrm>
            <a:off x="10290315" y="0"/>
            <a:ext cx="1901686" cy="6858000"/>
            <a:chOff x="10290315" y="0"/>
            <a:chExt cx="1901686" cy="6858000"/>
          </a:xfrm>
        </p:grpSpPr>
        <p:sp>
          <p:nvSpPr>
            <p:cNvPr id="18" name="Oval 17">
              <a:extLst>
                <a:ext uri="{FF2B5EF4-FFF2-40B4-BE49-F238E27FC236}">
                  <a16:creationId xmlns:a16="http://schemas.microsoft.com/office/drawing/2014/main" id="{626C9482-2804-144B-88B2-0AF191BD757D}"/>
                </a:ext>
              </a:extLst>
            </p:cNvPr>
            <p:cNvSpPr/>
            <p:nvPr/>
          </p:nvSpPr>
          <p:spPr>
            <a:xfrm>
              <a:off x="10290315" y="806362"/>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18">
              <a:extLst>
                <a:ext uri="{FF2B5EF4-FFF2-40B4-BE49-F238E27FC236}">
                  <a16:creationId xmlns:a16="http://schemas.microsoft.com/office/drawing/2014/main" id="{71363F79-96BD-9240-86E2-DF26C9C2437D}"/>
                </a:ext>
              </a:extLst>
            </p:cNvPr>
            <p:cNvSpPr/>
            <p:nvPr/>
          </p:nvSpPr>
          <p:spPr>
            <a:xfrm>
              <a:off x="10290315" y="0"/>
              <a:ext cx="1130724" cy="565573"/>
            </a:xfrm>
            <a:custGeom>
              <a:avLst/>
              <a:gdLst>
                <a:gd name="connsiteX0" fmla="*/ 21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1"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153F0BF1-DA57-1D49-82F0-802F4D385A85}"/>
                </a:ext>
              </a:extLst>
            </p:cNvPr>
            <p:cNvSpPr/>
            <p:nvPr/>
          </p:nvSpPr>
          <p:spPr>
            <a:xfrm>
              <a:off x="11653180" y="6295093"/>
              <a:ext cx="538821" cy="562907"/>
            </a:xfrm>
            <a:custGeom>
              <a:avLst/>
              <a:gdLst>
                <a:gd name="connsiteX0" fmla="*/ 538821 w 538821"/>
                <a:gd name="connsiteY0" fmla="*/ 0 h 562907"/>
                <a:gd name="connsiteX1" fmla="*/ 538821 w 538821"/>
                <a:gd name="connsiteY1" fmla="*/ 562907 h 562907"/>
                <a:gd name="connsiteX2" fmla="*/ 22 w 538821"/>
                <a:gd name="connsiteY2" fmla="*/ 562907 h 562907"/>
                <a:gd name="connsiteX3" fmla="*/ 0 w 538821"/>
                <a:gd name="connsiteY3" fmla="*/ 562686 h 562907"/>
                <a:gd name="connsiteX4" fmla="*/ 451422 w 538821"/>
                <a:gd name="connsiteY4" fmla="*/ 8810 h 56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907">
                  <a:moveTo>
                    <a:pt x="538821" y="0"/>
                  </a:moveTo>
                  <a:lnTo>
                    <a:pt x="538821" y="562907"/>
                  </a:lnTo>
                  <a:lnTo>
                    <a:pt x="22" y="562907"/>
                  </a:lnTo>
                  <a:lnTo>
                    <a:pt x="0" y="562686"/>
                  </a:ln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a:extLst>
                <a:ext uri="{FF2B5EF4-FFF2-40B4-BE49-F238E27FC236}">
                  <a16:creationId xmlns:a16="http://schemas.microsoft.com/office/drawing/2014/main" id="{8CD42A1B-A03A-C946-8A2A-CE437EA433FD}"/>
                </a:ext>
              </a:extLst>
            </p:cNvPr>
            <p:cNvSpPr/>
            <p:nvPr/>
          </p:nvSpPr>
          <p:spPr>
            <a:xfrm>
              <a:off x="11653180" y="3552066"/>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5591FE00-3AAF-9B4B-8107-E94D50828227}"/>
                </a:ext>
              </a:extLst>
            </p:cNvPr>
            <p:cNvSpPr/>
            <p:nvPr/>
          </p:nvSpPr>
          <p:spPr>
            <a:xfrm>
              <a:off x="11653180" y="2180552"/>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22">
              <a:extLst>
                <a:ext uri="{FF2B5EF4-FFF2-40B4-BE49-F238E27FC236}">
                  <a16:creationId xmlns:a16="http://schemas.microsoft.com/office/drawing/2014/main" id="{149E92E9-89A7-4842-B271-411C7DF75D2D}"/>
                </a:ext>
              </a:extLst>
            </p:cNvPr>
            <p:cNvSpPr/>
            <p:nvPr/>
          </p:nvSpPr>
          <p:spPr>
            <a:xfrm>
              <a:off x="11653180" y="809039"/>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Freeform 23">
              <a:extLst>
                <a:ext uri="{FF2B5EF4-FFF2-40B4-BE49-F238E27FC236}">
                  <a16:creationId xmlns:a16="http://schemas.microsoft.com/office/drawing/2014/main" id="{4DC29C99-0841-9F46-AB1A-E9751DFE4487}"/>
                </a:ext>
              </a:extLst>
            </p:cNvPr>
            <p:cNvSpPr/>
            <p:nvPr/>
          </p:nvSpPr>
          <p:spPr>
            <a:xfrm>
              <a:off x="11653180" y="0"/>
              <a:ext cx="538821" cy="562898"/>
            </a:xfrm>
            <a:custGeom>
              <a:avLst/>
              <a:gdLst>
                <a:gd name="connsiteX0" fmla="*/ 21 w 538821"/>
                <a:gd name="connsiteY0" fmla="*/ 0 h 562898"/>
                <a:gd name="connsiteX1" fmla="*/ 538821 w 538821"/>
                <a:gd name="connsiteY1" fmla="*/ 0 h 562898"/>
                <a:gd name="connsiteX2" fmla="*/ 538821 w 538821"/>
                <a:gd name="connsiteY2" fmla="*/ 562898 h 562898"/>
                <a:gd name="connsiteX3" fmla="*/ 451422 w 538821"/>
                <a:gd name="connsiteY3" fmla="*/ 554087 h 562898"/>
                <a:gd name="connsiteX4" fmla="*/ 0 w 538821"/>
                <a:gd name="connsiteY4" fmla="*/ 211 h 56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898">
                  <a:moveTo>
                    <a:pt x="21" y="0"/>
                  </a:moveTo>
                  <a:lnTo>
                    <a:pt x="538821" y="0"/>
                  </a:lnTo>
                  <a:lnTo>
                    <a:pt x="538821" y="562898"/>
                  </a:lnTo>
                  <a:lnTo>
                    <a:pt x="451422" y="554087"/>
                  </a:lnTo>
                  <a:cubicBezTo>
                    <a:pt x="193796" y="501369"/>
                    <a:pt x="0" y="27342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EE0AB684-BDA8-014B-8DCC-125F8B8DCEE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540E05-0F5F-6243-AD57-66BFC33ADBAC}"/>
              </a:ext>
            </a:extLst>
          </p:cNvPr>
          <p:cNvSpPr>
            <a:spLocks noGrp="1"/>
          </p:cNvSpPr>
          <p:nvPr>
            <p:ph sz="half" idx="1"/>
          </p:nvPr>
        </p:nvSpPr>
        <p:spPr>
          <a:xfrm>
            <a:off x="562851" y="2365755"/>
            <a:ext cx="5239512" cy="33954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70B3A4-11FE-D94C-9B93-255E36231064}"/>
              </a:ext>
            </a:extLst>
          </p:cNvPr>
          <p:cNvSpPr>
            <a:spLocks noGrp="1"/>
          </p:cNvSpPr>
          <p:nvPr>
            <p:ph sz="half" idx="2"/>
          </p:nvPr>
        </p:nvSpPr>
        <p:spPr>
          <a:xfrm>
            <a:off x="6389638" y="2365755"/>
            <a:ext cx="5239512" cy="33954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67BEEAF-F881-6E48-84AF-E5CEEF1C7167}"/>
              </a:ext>
            </a:extLst>
          </p:cNvPr>
          <p:cNvSpPr>
            <a:spLocks noGrp="1"/>
          </p:cNvSpPr>
          <p:nvPr>
            <p:ph type="dt" sz="half" idx="10"/>
          </p:nvPr>
        </p:nvSpPr>
        <p:spPr/>
        <p:txBody>
          <a:bodyPr/>
          <a:lstStyle/>
          <a:p>
            <a:fld id="{544230D7-DFDF-4E8D-8A49-E6EB68AE4DD4}" type="datetime1">
              <a:rPr lang="en-US" smtClean="0"/>
              <a:t>12/11/2023</a:t>
            </a:fld>
            <a:endParaRPr lang="en-US"/>
          </a:p>
        </p:txBody>
      </p:sp>
      <p:sp>
        <p:nvSpPr>
          <p:cNvPr id="6" name="Footer Placeholder 5">
            <a:extLst>
              <a:ext uri="{FF2B5EF4-FFF2-40B4-BE49-F238E27FC236}">
                <a16:creationId xmlns:a16="http://schemas.microsoft.com/office/drawing/2014/main" id="{9C472753-1CC3-9244-9AF0-6927018A64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DD55D0-FCC7-AC42-9810-9B49E3348958}"/>
              </a:ext>
            </a:extLst>
          </p:cNvPr>
          <p:cNvSpPr>
            <a:spLocks noGrp="1"/>
          </p:cNvSpPr>
          <p:nvPr>
            <p:ph type="sldNum" sz="quarter" idx="12"/>
          </p:nvPr>
        </p:nvSpPr>
        <p:spPr/>
        <p:txBody>
          <a:bodyPr/>
          <a:lstStyle/>
          <a:p>
            <a:fld id="{49ABCAEC-7D34-E549-A96E-FCEDAADBE4B0}" type="slidenum">
              <a:rPr lang="en-US" smtClean="0"/>
              <a:t>‹#›</a:t>
            </a:fld>
            <a:endParaRPr lang="en-US"/>
          </a:p>
        </p:txBody>
      </p:sp>
      <p:cxnSp>
        <p:nvCxnSpPr>
          <p:cNvPr id="8" name="Straight Connector 7">
            <a:extLst>
              <a:ext uri="{FF2B5EF4-FFF2-40B4-BE49-F238E27FC236}">
                <a16:creationId xmlns:a16="http://schemas.microsoft.com/office/drawing/2014/main" id="{5FC736C3-88FB-244C-83B8-B2856998D221}"/>
              </a:ext>
            </a:extLst>
          </p:cNvPr>
          <p:cNvCxnSpPr>
            <a:cxnSpLocks/>
          </p:cNvCxnSpPr>
          <p:nvPr/>
        </p:nvCxnSpPr>
        <p:spPr>
          <a:xfrm>
            <a:off x="565150" y="6087110"/>
            <a:ext cx="110583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03697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B7D16A9C-7411-5242-A59C-816B8907E3BE}"/>
              </a:ext>
            </a:extLst>
          </p:cNvPr>
          <p:cNvGrpSpPr/>
          <p:nvPr/>
        </p:nvGrpSpPr>
        <p:grpSpPr>
          <a:xfrm>
            <a:off x="10290315" y="0"/>
            <a:ext cx="1901686" cy="6858000"/>
            <a:chOff x="10290315" y="0"/>
            <a:chExt cx="1901686" cy="6858000"/>
          </a:xfrm>
        </p:grpSpPr>
        <p:sp>
          <p:nvSpPr>
            <p:cNvPr id="20" name="Oval 19">
              <a:extLst>
                <a:ext uri="{FF2B5EF4-FFF2-40B4-BE49-F238E27FC236}">
                  <a16:creationId xmlns:a16="http://schemas.microsoft.com/office/drawing/2014/main" id="{A997260B-7D44-7049-B605-7FD6E6CE5612}"/>
                </a:ext>
              </a:extLst>
            </p:cNvPr>
            <p:cNvSpPr/>
            <p:nvPr/>
          </p:nvSpPr>
          <p:spPr>
            <a:xfrm>
              <a:off x="10290315" y="806362"/>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5D6AF601-77C3-D74A-B1E5-7F33703A6927}"/>
                </a:ext>
              </a:extLst>
            </p:cNvPr>
            <p:cNvSpPr/>
            <p:nvPr/>
          </p:nvSpPr>
          <p:spPr>
            <a:xfrm>
              <a:off x="10290315" y="0"/>
              <a:ext cx="1130724" cy="565573"/>
            </a:xfrm>
            <a:custGeom>
              <a:avLst/>
              <a:gdLst>
                <a:gd name="connsiteX0" fmla="*/ 21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1"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4DFCA921-0F9E-2E41-A285-75409E25501A}"/>
                </a:ext>
              </a:extLst>
            </p:cNvPr>
            <p:cNvSpPr/>
            <p:nvPr/>
          </p:nvSpPr>
          <p:spPr>
            <a:xfrm>
              <a:off x="11653180" y="6295093"/>
              <a:ext cx="538821" cy="562907"/>
            </a:xfrm>
            <a:custGeom>
              <a:avLst/>
              <a:gdLst>
                <a:gd name="connsiteX0" fmla="*/ 538821 w 538821"/>
                <a:gd name="connsiteY0" fmla="*/ 0 h 562907"/>
                <a:gd name="connsiteX1" fmla="*/ 538821 w 538821"/>
                <a:gd name="connsiteY1" fmla="*/ 562907 h 562907"/>
                <a:gd name="connsiteX2" fmla="*/ 22 w 538821"/>
                <a:gd name="connsiteY2" fmla="*/ 562907 h 562907"/>
                <a:gd name="connsiteX3" fmla="*/ 0 w 538821"/>
                <a:gd name="connsiteY3" fmla="*/ 562686 h 562907"/>
                <a:gd name="connsiteX4" fmla="*/ 451422 w 538821"/>
                <a:gd name="connsiteY4" fmla="*/ 8810 h 56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907">
                  <a:moveTo>
                    <a:pt x="538821" y="0"/>
                  </a:moveTo>
                  <a:lnTo>
                    <a:pt x="538821" y="562907"/>
                  </a:lnTo>
                  <a:lnTo>
                    <a:pt x="22" y="562907"/>
                  </a:lnTo>
                  <a:lnTo>
                    <a:pt x="0" y="562686"/>
                  </a:ln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22">
              <a:extLst>
                <a:ext uri="{FF2B5EF4-FFF2-40B4-BE49-F238E27FC236}">
                  <a16:creationId xmlns:a16="http://schemas.microsoft.com/office/drawing/2014/main" id="{120B9E03-438B-FC42-9DA1-835D5BC3FE88}"/>
                </a:ext>
              </a:extLst>
            </p:cNvPr>
            <p:cNvSpPr/>
            <p:nvPr/>
          </p:nvSpPr>
          <p:spPr>
            <a:xfrm>
              <a:off x="11653180" y="3552066"/>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Freeform 23">
              <a:extLst>
                <a:ext uri="{FF2B5EF4-FFF2-40B4-BE49-F238E27FC236}">
                  <a16:creationId xmlns:a16="http://schemas.microsoft.com/office/drawing/2014/main" id="{4D670E1F-61CD-8940-A898-6D5092A78BB9}"/>
                </a:ext>
              </a:extLst>
            </p:cNvPr>
            <p:cNvSpPr/>
            <p:nvPr/>
          </p:nvSpPr>
          <p:spPr>
            <a:xfrm>
              <a:off x="11653180" y="2180552"/>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080C64CF-0C6A-3449-9709-AE038C4A7995}"/>
                </a:ext>
              </a:extLst>
            </p:cNvPr>
            <p:cNvSpPr/>
            <p:nvPr/>
          </p:nvSpPr>
          <p:spPr>
            <a:xfrm>
              <a:off x="11653180" y="809039"/>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Freeform 25">
              <a:extLst>
                <a:ext uri="{FF2B5EF4-FFF2-40B4-BE49-F238E27FC236}">
                  <a16:creationId xmlns:a16="http://schemas.microsoft.com/office/drawing/2014/main" id="{FEC46D5B-957F-A24C-8E36-CC71F660EC8B}"/>
                </a:ext>
              </a:extLst>
            </p:cNvPr>
            <p:cNvSpPr/>
            <p:nvPr/>
          </p:nvSpPr>
          <p:spPr>
            <a:xfrm>
              <a:off x="11653180" y="0"/>
              <a:ext cx="538821" cy="562898"/>
            </a:xfrm>
            <a:custGeom>
              <a:avLst/>
              <a:gdLst>
                <a:gd name="connsiteX0" fmla="*/ 21 w 538821"/>
                <a:gd name="connsiteY0" fmla="*/ 0 h 562898"/>
                <a:gd name="connsiteX1" fmla="*/ 538821 w 538821"/>
                <a:gd name="connsiteY1" fmla="*/ 0 h 562898"/>
                <a:gd name="connsiteX2" fmla="*/ 538821 w 538821"/>
                <a:gd name="connsiteY2" fmla="*/ 562898 h 562898"/>
                <a:gd name="connsiteX3" fmla="*/ 451422 w 538821"/>
                <a:gd name="connsiteY3" fmla="*/ 554087 h 562898"/>
                <a:gd name="connsiteX4" fmla="*/ 0 w 538821"/>
                <a:gd name="connsiteY4" fmla="*/ 211 h 56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898">
                  <a:moveTo>
                    <a:pt x="21" y="0"/>
                  </a:moveTo>
                  <a:lnTo>
                    <a:pt x="538821" y="0"/>
                  </a:lnTo>
                  <a:lnTo>
                    <a:pt x="538821" y="562898"/>
                  </a:lnTo>
                  <a:lnTo>
                    <a:pt x="451422" y="554087"/>
                  </a:lnTo>
                  <a:cubicBezTo>
                    <a:pt x="193796" y="501369"/>
                    <a:pt x="0" y="27342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9058182F-7B5E-FD42-AFC6-A3848D8332AC}"/>
              </a:ext>
            </a:extLst>
          </p:cNvPr>
          <p:cNvSpPr>
            <a:spLocks noGrp="1"/>
          </p:cNvSpPr>
          <p:nvPr>
            <p:ph type="title"/>
          </p:nvPr>
        </p:nvSpPr>
        <p:spPr>
          <a:xfrm>
            <a:off x="566928" y="768096"/>
            <a:ext cx="7333488" cy="1271016"/>
          </a:xfrm>
        </p:spPr>
        <p:txBody>
          <a:bodyPr/>
          <a:lstStyle/>
          <a:p>
            <a:r>
              <a:rPr lang="en-US"/>
              <a:t>Click to edit Master title style</a:t>
            </a:r>
          </a:p>
        </p:txBody>
      </p:sp>
      <p:sp>
        <p:nvSpPr>
          <p:cNvPr id="3" name="Text Placeholder 2">
            <a:extLst>
              <a:ext uri="{FF2B5EF4-FFF2-40B4-BE49-F238E27FC236}">
                <a16:creationId xmlns:a16="http://schemas.microsoft.com/office/drawing/2014/main" id="{1FD9E4DE-75C0-C841-A68D-9D7BBAD76C5E}"/>
              </a:ext>
            </a:extLst>
          </p:cNvPr>
          <p:cNvSpPr>
            <a:spLocks noGrp="1"/>
          </p:cNvSpPr>
          <p:nvPr>
            <p:ph type="body" idx="1"/>
          </p:nvPr>
        </p:nvSpPr>
        <p:spPr>
          <a:xfrm>
            <a:off x="562149" y="2365756"/>
            <a:ext cx="52395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5C87F7-356E-9E43-97A0-D972B22853DA}"/>
              </a:ext>
            </a:extLst>
          </p:cNvPr>
          <p:cNvSpPr>
            <a:spLocks noGrp="1"/>
          </p:cNvSpPr>
          <p:nvPr>
            <p:ph sz="half" idx="2"/>
          </p:nvPr>
        </p:nvSpPr>
        <p:spPr>
          <a:xfrm>
            <a:off x="562149" y="3189668"/>
            <a:ext cx="5239512" cy="2571557"/>
          </a:xfrm>
        </p:spPr>
        <p:txBody>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AB4C28-30CB-CC4E-A25E-F4FEFA49BCA5}"/>
              </a:ext>
            </a:extLst>
          </p:cNvPr>
          <p:cNvSpPr>
            <a:spLocks noGrp="1"/>
          </p:cNvSpPr>
          <p:nvPr>
            <p:ph type="body" sz="quarter" idx="3"/>
          </p:nvPr>
        </p:nvSpPr>
        <p:spPr>
          <a:xfrm>
            <a:off x="6383066" y="2365756"/>
            <a:ext cx="52395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9ED0191-963B-1E4C-BEC5-9B42E39514A3}"/>
              </a:ext>
            </a:extLst>
          </p:cNvPr>
          <p:cNvSpPr>
            <a:spLocks noGrp="1"/>
          </p:cNvSpPr>
          <p:nvPr>
            <p:ph sz="quarter" idx="4"/>
          </p:nvPr>
        </p:nvSpPr>
        <p:spPr>
          <a:xfrm>
            <a:off x="6383066" y="3189668"/>
            <a:ext cx="5239512" cy="2571557"/>
          </a:xfrm>
        </p:spPr>
        <p:txBody>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F0E0BED-3EB7-BB4A-A556-FA967FB0115F}"/>
              </a:ext>
            </a:extLst>
          </p:cNvPr>
          <p:cNvSpPr>
            <a:spLocks noGrp="1"/>
          </p:cNvSpPr>
          <p:nvPr>
            <p:ph type="dt" sz="half" idx="10"/>
          </p:nvPr>
        </p:nvSpPr>
        <p:spPr/>
        <p:txBody>
          <a:bodyPr/>
          <a:lstStyle/>
          <a:p>
            <a:fld id="{30D332D4-10B6-44F0-9D27-E630A20A0220}" type="datetime1">
              <a:rPr lang="en-US" smtClean="0"/>
              <a:t>12/11/2023</a:t>
            </a:fld>
            <a:endParaRPr lang="en-US"/>
          </a:p>
        </p:txBody>
      </p:sp>
      <p:sp>
        <p:nvSpPr>
          <p:cNvPr id="8" name="Footer Placeholder 7">
            <a:extLst>
              <a:ext uri="{FF2B5EF4-FFF2-40B4-BE49-F238E27FC236}">
                <a16:creationId xmlns:a16="http://schemas.microsoft.com/office/drawing/2014/main" id="{B6A2466A-4D90-174C-B382-AC4674D7215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EADE49-8082-214B-9742-5EE8DA2E9FFE}"/>
              </a:ext>
            </a:extLst>
          </p:cNvPr>
          <p:cNvSpPr>
            <a:spLocks noGrp="1"/>
          </p:cNvSpPr>
          <p:nvPr>
            <p:ph type="sldNum" sz="quarter" idx="12"/>
          </p:nvPr>
        </p:nvSpPr>
        <p:spPr/>
        <p:txBody>
          <a:bodyPr/>
          <a:lstStyle/>
          <a:p>
            <a:fld id="{49ABCAEC-7D34-E549-A96E-FCEDAADBE4B0}" type="slidenum">
              <a:rPr lang="en-US" smtClean="0"/>
              <a:t>‹#›</a:t>
            </a:fld>
            <a:endParaRPr lang="en-US"/>
          </a:p>
        </p:txBody>
      </p:sp>
      <p:cxnSp>
        <p:nvCxnSpPr>
          <p:cNvPr id="10" name="Straight Connector 9">
            <a:extLst>
              <a:ext uri="{FF2B5EF4-FFF2-40B4-BE49-F238E27FC236}">
                <a16:creationId xmlns:a16="http://schemas.microsoft.com/office/drawing/2014/main" id="{75E39200-18D5-014B-BAB8-FF5D0BA15E0C}"/>
              </a:ext>
            </a:extLst>
          </p:cNvPr>
          <p:cNvCxnSpPr>
            <a:cxnSpLocks/>
          </p:cNvCxnSpPr>
          <p:nvPr/>
        </p:nvCxnSpPr>
        <p:spPr>
          <a:xfrm>
            <a:off x="565150" y="6087110"/>
            <a:ext cx="110583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19723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D7DF52F6-A06E-0343-95B8-DAAC38DB4B8C}"/>
              </a:ext>
            </a:extLst>
          </p:cNvPr>
          <p:cNvGrpSpPr/>
          <p:nvPr/>
        </p:nvGrpSpPr>
        <p:grpSpPr>
          <a:xfrm>
            <a:off x="10290315" y="0"/>
            <a:ext cx="1901686" cy="6858000"/>
            <a:chOff x="10290315" y="0"/>
            <a:chExt cx="1901686" cy="6858000"/>
          </a:xfrm>
        </p:grpSpPr>
        <p:sp>
          <p:nvSpPr>
            <p:cNvPr id="16" name="Oval 15">
              <a:extLst>
                <a:ext uri="{FF2B5EF4-FFF2-40B4-BE49-F238E27FC236}">
                  <a16:creationId xmlns:a16="http://schemas.microsoft.com/office/drawing/2014/main" id="{67092C52-7052-0749-9DA0-9374DBF495AE}"/>
                </a:ext>
              </a:extLst>
            </p:cNvPr>
            <p:cNvSpPr/>
            <p:nvPr/>
          </p:nvSpPr>
          <p:spPr>
            <a:xfrm>
              <a:off x="10290315" y="806362"/>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a:extLst>
                <a:ext uri="{FF2B5EF4-FFF2-40B4-BE49-F238E27FC236}">
                  <a16:creationId xmlns:a16="http://schemas.microsoft.com/office/drawing/2014/main" id="{C64E1C2F-81E1-C44D-859C-946596C950F2}"/>
                </a:ext>
              </a:extLst>
            </p:cNvPr>
            <p:cNvSpPr/>
            <p:nvPr/>
          </p:nvSpPr>
          <p:spPr>
            <a:xfrm>
              <a:off x="10290315" y="0"/>
              <a:ext cx="1130724" cy="565573"/>
            </a:xfrm>
            <a:custGeom>
              <a:avLst/>
              <a:gdLst>
                <a:gd name="connsiteX0" fmla="*/ 21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1"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17">
              <a:extLst>
                <a:ext uri="{FF2B5EF4-FFF2-40B4-BE49-F238E27FC236}">
                  <a16:creationId xmlns:a16="http://schemas.microsoft.com/office/drawing/2014/main" id="{53626485-4263-0A44-9561-E278A7056C33}"/>
                </a:ext>
              </a:extLst>
            </p:cNvPr>
            <p:cNvSpPr/>
            <p:nvPr/>
          </p:nvSpPr>
          <p:spPr>
            <a:xfrm>
              <a:off x="11653180" y="6295093"/>
              <a:ext cx="538821" cy="562907"/>
            </a:xfrm>
            <a:custGeom>
              <a:avLst/>
              <a:gdLst>
                <a:gd name="connsiteX0" fmla="*/ 538821 w 538821"/>
                <a:gd name="connsiteY0" fmla="*/ 0 h 562907"/>
                <a:gd name="connsiteX1" fmla="*/ 538821 w 538821"/>
                <a:gd name="connsiteY1" fmla="*/ 562907 h 562907"/>
                <a:gd name="connsiteX2" fmla="*/ 22 w 538821"/>
                <a:gd name="connsiteY2" fmla="*/ 562907 h 562907"/>
                <a:gd name="connsiteX3" fmla="*/ 0 w 538821"/>
                <a:gd name="connsiteY3" fmla="*/ 562686 h 562907"/>
                <a:gd name="connsiteX4" fmla="*/ 451422 w 538821"/>
                <a:gd name="connsiteY4" fmla="*/ 8810 h 56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907">
                  <a:moveTo>
                    <a:pt x="538821" y="0"/>
                  </a:moveTo>
                  <a:lnTo>
                    <a:pt x="538821" y="562907"/>
                  </a:lnTo>
                  <a:lnTo>
                    <a:pt x="22" y="562907"/>
                  </a:lnTo>
                  <a:lnTo>
                    <a:pt x="0" y="562686"/>
                  </a:ln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18">
              <a:extLst>
                <a:ext uri="{FF2B5EF4-FFF2-40B4-BE49-F238E27FC236}">
                  <a16:creationId xmlns:a16="http://schemas.microsoft.com/office/drawing/2014/main" id="{7D45AAB5-3CCC-DE4A-A962-3702911B55CC}"/>
                </a:ext>
              </a:extLst>
            </p:cNvPr>
            <p:cNvSpPr/>
            <p:nvPr/>
          </p:nvSpPr>
          <p:spPr>
            <a:xfrm>
              <a:off x="11653180" y="3552066"/>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8CAFB16F-8EDE-D44F-A51E-34EDC41E7404}"/>
                </a:ext>
              </a:extLst>
            </p:cNvPr>
            <p:cNvSpPr/>
            <p:nvPr/>
          </p:nvSpPr>
          <p:spPr>
            <a:xfrm>
              <a:off x="11653180" y="2180552"/>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a:extLst>
                <a:ext uri="{FF2B5EF4-FFF2-40B4-BE49-F238E27FC236}">
                  <a16:creationId xmlns:a16="http://schemas.microsoft.com/office/drawing/2014/main" id="{DCD51329-732C-BB4C-98E5-715BAF9F8853}"/>
                </a:ext>
              </a:extLst>
            </p:cNvPr>
            <p:cNvSpPr/>
            <p:nvPr/>
          </p:nvSpPr>
          <p:spPr>
            <a:xfrm>
              <a:off x="11653180" y="809039"/>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192B5D44-BC55-AF4C-984D-C8231B22F80B}"/>
                </a:ext>
              </a:extLst>
            </p:cNvPr>
            <p:cNvSpPr/>
            <p:nvPr/>
          </p:nvSpPr>
          <p:spPr>
            <a:xfrm>
              <a:off x="11653180" y="0"/>
              <a:ext cx="538821" cy="562898"/>
            </a:xfrm>
            <a:custGeom>
              <a:avLst/>
              <a:gdLst>
                <a:gd name="connsiteX0" fmla="*/ 21 w 538821"/>
                <a:gd name="connsiteY0" fmla="*/ 0 h 562898"/>
                <a:gd name="connsiteX1" fmla="*/ 538821 w 538821"/>
                <a:gd name="connsiteY1" fmla="*/ 0 h 562898"/>
                <a:gd name="connsiteX2" fmla="*/ 538821 w 538821"/>
                <a:gd name="connsiteY2" fmla="*/ 562898 h 562898"/>
                <a:gd name="connsiteX3" fmla="*/ 451422 w 538821"/>
                <a:gd name="connsiteY3" fmla="*/ 554087 h 562898"/>
                <a:gd name="connsiteX4" fmla="*/ 0 w 538821"/>
                <a:gd name="connsiteY4" fmla="*/ 211 h 56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898">
                  <a:moveTo>
                    <a:pt x="21" y="0"/>
                  </a:moveTo>
                  <a:lnTo>
                    <a:pt x="538821" y="0"/>
                  </a:lnTo>
                  <a:lnTo>
                    <a:pt x="538821" y="562898"/>
                  </a:lnTo>
                  <a:lnTo>
                    <a:pt x="451422" y="554087"/>
                  </a:lnTo>
                  <a:cubicBezTo>
                    <a:pt x="193796" y="501369"/>
                    <a:pt x="0" y="27342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DFA1E9E2-564E-7049-A22F-BB5B876BAB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6359D05-C08D-7747-B2FC-3F62B3357315}"/>
              </a:ext>
            </a:extLst>
          </p:cNvPr>
          <p:cNvSpPr>
            <a:spLocks noGrp="1"/>
          </p:cNvSpPr>
          <p:nvPr>
            <p:ph type="dt" sz="half" idx="10"/>
          </p:nvPr>
        </p:nvSpPr>
        <p:spPr/>
        <p:txBody>
          <a:bodyPr/>
          <a:lstStyle/>
          <a:p>
            <a:fld id="{DA6D47B1-FF42-4DB2-ADDA-ACAA59E3699C}" type="datetime1">
              <a:rPr lang="en-US" smtClean="0"/>
              <a:t>12/11/2023</a:t>
            </a:fld>
            <a:endParaRPr lang="en-US"/>
          </a:p>
        </p:txBody>
      </p:sp>
      <p:sp>
        <p:nvSpPr>
          <p:cNvPr id="4" name="Footer Placeholder 3">
            <a:extLst>
              <a:ext uri="{FF2B5EF4-FFF2-40B4-BE49-F238E27FC236}">
                <a16:creationId xmlns:a16="http://schemas.microsoft.com/office/drawing/2014/main" id="{8E2FF615-BB08-A844-B689-BAA7C504074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563A67D-F96F-4849-8C83-49CC3A6539BB}"/>
              </a:ext>
            </a:extLst>
          </p:cNvPr>
          <p:cNvSpPr>
            <a:spLocks noGrp="1"/>
          </p:cNvSpPr>
          <p:nvPr>
            <p:ph type="sldNum" sz="quarter" idx="12"/>
          </p:nvPr>
        </p:nvSpPr>
        <p:spPr/>
        <p:txBody>
          <a:bodyPr/>
          <a:lstStyle/>
          <a:p>
            <a:fld id="{49ABCAEC-7D34-E549-A96E-FCEDAADBE4B0}" type="slidenum">
              <a:rPr lang="en-US" smtClean="0"/>
              <a:t>‹#›</a:t>
            </a:fld>
            <a:endParaRPr lang="en-US"/>
          </a:p>
        </p:txBody>
      </p:sp>
      <p:cxnSp>
        <p:nvCxnSpPr>
          <p:cNvPr id="6" name="Straight Connector 5">
            <a:extLst>
              <a:ext uri="{FF2B5EF4-FFF2-40B4-BE49-F238E27FC236}">
                <a16:creationId xmlns:a16="http://schemas.microsoft.com/office/drawing/2014/main" id="{1DCFAAB9-2B6B-8D4C-A748-433E2C393EA6}"/>
              </a:ext>
            </a:extLst>
          </p:cNvPr>
          <p:cNvCxnSpPr>
            <a:cxnSpLocks/>
          </p:cNvCxnSpPr>
          <p:nvPr/>
        </p:nvCxnSpPr>
        <p:spPr>
          <a:xfrm>
            <a:off x="565150" y="6087110"/>
            <a:ext cx="110583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3013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798BCA70-D63D-40F6-B9B3-4E49B96E27FB}"/>
              </a:ext>
            </a:extLst>
          </p:cNvPr>
          <p:cNvSpPr>
            <a:spLocks noGrp="1"/>
          </p:cNvSpPr>
          <p:nvPr>
            <p:ph type="dt" sz="half" idx="10"/>
          </p:nvPr>
        </p:nvSpPr>
        <p:spPr/>
        <p:txBody>
          <a:bodyPr/>
          <a:lstStyle/>
          <a:p>
            <a:fld id="{3822AFEE-D1DB-4C00-85BD-4652AE696654}" type="datetime1">
              <a:rPr lang="en-US" smtClean="0"/>
              <a:t>12/11/2023</a:t>
            </a:fld>
            <a:endParaRPr lang="en-US"/>
          </a:p>
        </p:txBody>
      </p:sp>
      <p:sp>
        <p:nvSpPr>
          <p:cNvPr id="6" name="Footer Placeholder 5">
            <a:extLst>
              <a:ext uri="{FF2B5EF4-FFF2-40B4-BE49-F238E27FC236}">
                <a16:creationId xmlns:a16="http://schemas.microsoft.com/office/drawing/2014/main" id="{72F12559-BD91-4904-A24A-0CF0A2324A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658BB7-74A5-4A6F-A0FF-021E68F02BFF}"/>
              </a:ext>
            </a:extLst>
          </p:cNvPr>
          <p:cNvSpPr>
            <a:spLocks noGrp="1"/>
          </p:cNvSpPr>
          <p:nvPr>
            <p:ph type="sldNum" sz="quarter" idx="12"/>
          </p:nvPr>
        </p:nvSpPr>
        <p:spPr/>
        <p:txBody>
          <a:bodyPr/>
          <a:lstStyle/>
          <a:p>
            <a:fld id="{49ABCAEC-7D34-E549-A96E-FCEDAADBE4B0}" type="slidenum">
              <a:rPr lang="en-US" smtClean="0"/>
              <a:pPr/>
              <a:t>‹#›</a:t>
            </a:fld>
            <a:endParaRPr lang="en-US"/>
          </a:p>
        </p:txBody>
      </p:sp>
    </p:spTree>
    <p:extLst>
      <p:ext uri="{BB962C8B-B14F-4D97-AF65-F5344CB8AC3E}">
        <p14:creationId xmlns:p14="http://schemas.microsoft.com/office/powerpoint/2010/main" val="34908754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D0914A35-7AAF-4B42-9C68-47A633EFD9D0}"/>
              </a:ext>
            </a:extLst>
          </p:cNvPr>
          <p:cNvGrpSpPr/>
          <p:nvPr/>
        </p:nvGrpSpPr>
        <p:grpSpPr>
          <a:xfrm>
            <a:off x="10290315" y="0"/>
            <a:ext cx="1901686" cy="6858000"/>
            <a:chOff x="10290315" y="0"/>
            <a:chExt cx="1901686" cy="6858000"/>
          </a:xfrm>
        </p:grpSpPr>
        <p:sp>
          <p:nvSpPr>
            <p:cNvPr id="18" name="Freeform 17">
              <a:extLst>
                <a:ext uri="{FF2B5EF4-FFF2-40B4-BE49-F238E27FC236}">
                  <a16:creationId xmlns:a16="http://schemas.microsoft.com/office/drawing/2014/main" id="{DABCED79-0E70-FB4D-ABF2-D859BF5556E4}"/>
                </a:ext>
              </a:extLst>
            </p:cNvPr>
            <p:cNvSpPr/>
            <p:nvPr/>
          </p:nvSpPr>
          <p:spPr>
            <a:xfrm>
              <a:off x="10290315" y="0"/>
              <a:ext cx="1130724" cy="565573"/>
            </a:xfrm>
            <a:custGeom>
              <a:avLst/>
              <a:gdLst>
                <a:gd name="connsiteX0" fmla="*/ 21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1"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18">
              <a:extLst>
                <a:ext uri="{FF2B5EF4-FFF2-40B4-BE49-F238E27FC236}">
                  <a16:creationId xmlns:a16="http://schemas.microsoft.com/office/drawing/2014/main" id="{8364885D-A3A4-5144-AB4E-7624F27287E6}"/>
                </a:ext>
              </a:extLst>
            </p:cNvPr>
            <p:cNvSpPr/>
            <p:nvPr/>
          </p:nvSpPr>
          <p:spPr>
            <a:xfrm>
              <a:off x="11653180" y="6295093"/>
              <a:ext cx="538821" cy="562907"/>
            </a:xfrm>
            <a:custGeom>
              <a:avLst/>
              <a:gdLst>
                <a:gd name="connsiteX0" fmla="*/ 538821 w 538821"/>
                <a:gd name="connsiteY0" fmla="*/ 0 h 562907"/>
                <a:gd name="connsiteX1" fmla="*/ 538821 w 538821"/>
                <a:gd name="connsiteY1" fmla="*/ 562907 h 562907"/>
                <a:gd name="connsiteX2" fmla="*/ 22 w 538821"/>
                <a:gd name="connsiteY2" fmla="*/ 562907 h 562907"/>
                <a:gd name="connsiteX3" fmla="*/ 0 w 538821"/>
                <a:gd name="connsiteY3" fmla="*/ 562686 h 562907"/>
                <a:gd name="connsiteX4" fmla="*/ 451422 w 538821"/>
                <a:gd name="connsiteY4" fmla="*/ 8810 h 56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907">
                  <a:moveTo>
                    <a:pt x="538821" y="0"/>
                  </a:moveTo>
                  <a:lnTo>
                    <a:pt x="538821" y="562907"/>
                  </a:lnTo>
                  <a:lnTo>
                    <a:pt x="22" y="562907"/>
                  </a:lnTo>
                  <a:lnTo>
                    <a:pt x="0" y="562686"/>
                  </a:ln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D22073D5-CC72-0549-BD26-F7AF9851BE45}"/>
                </a:ext>
              </a:extLst>
            </p:cNvPr>
            <p:cNvSpPr/>
            <p:nvPr/>
          </p:nvSpPr>
          <p:spPr>
            <a:xfrm>
              <a:off x="11653180" y="3552066"/>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a:extLst>
                <a:ext uri="{FF2B5EF4-FFF2-40B4-BE49-F238E27FC236}">
                  <a16:creationId xmlns:a16="http://schemas.microsoft.com/office/drawing/2014/main" id="{1827A049-C9FD-554E-9B01-F151B0D9E86B}"/>
                </a:ext>
              </a:extLst>
            </p:cNvPr>
            <p:cNvSpPr/>
            <p:nvPr/>
          </p:nvSpPr>
          <p:spPr>
            <a:xfrm>
              <a:off x="11653180" y="2180552"/>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76832559-4D18-8744-AB91-9FCFAB732477}"/>
                </a:ext>
              </a:extLst>
            </p:cNvPr>
            <p:cNvSpPr/>
            <p:nvPr/>
          </p:nvSpPr>
          <p:spPr>
            <a:xfrm>
              <a:off x="11653180" y="809039"/>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22">
              <a:extLst>
                <a:ext uri="{FF2B5EF4-FFF2-40B4-BE49-F238E27FC236}">
                  <a16:creationId xmlns:a16="http://schemas.microsoft.com/office/drawing/2014/main" id="{BF97A623-E5DC-1B44-B687-8643B9F0D741}"/>
                </a:ext>
              </a:extLst>
            </p:cNvPr>
            <p:cNvSpPr/>
            <p:nvPr/>
          </p:nvSpPr>
          <p:spPr>
            <a:xfrm>
              <a:off x="11653180" y="0"/>
              <a:ext cx="538821" cy="562898"/>
            </a:xfrm>
            <a:custGeom>
              <a:avLst/>
              <a:gdLst>
                <a:gd name="connsiteX0" fmla="*/ 21 w 538821"/>
                <a:gd name="connsiteY0" fmla="*/ 0 h 562898"/>
                <a:gd name="connsiteX1" fmla="*/ 538821 w 538821"/>
                <a:gd name="connsiteY1" fmla="*/ 0 h 562898"/>
                <a:gd name="connsiteX2" fmla="*/ 538821 w 538821"/>
                <a:gd name="connsiteY2" fmla="*/ 562898 h 562898"/>
                <a:gd name="connsiteX3" fmla="*/ 451422 w 538821"/>
                <a:gd name="connsiteY3" fmla="*/ 554087 h 562898"/>
                <a:gd name="connsiteX4" fmla="*/ 0 w 538821"/>
                <a:gd name="connsiteY4" fmla="*/ 211 h 56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898">
                  <a:moveTo>
                    <a:pt x="21" y="0"/>
                  </a:moveTo>
                  <a:lnTo>
                    <a:pt x="538821" y="0"/>
                  </a:lnTo>
                  <a:lnTo>
                    <a:pt x="538821" y="562898"/>
                  </a:lnTo>
                  <a:lnTo>
                    <a:pt x="451422" y="554087"/>
                  </a:lnTo>
                  <a:cubicBezTo>
                    <a:pt x="193796" y="501369"/>
                    <a:pt x="0" y="27342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3637BBE1-2C82-4E45-B5C5-35E07B05EA4E}"/>
              </a:ext>
            </a:extLst>
          </p:cNvPr>
          <p:cNvSpPr>
            <a:spLocks noGrp="1"/>
          </p:cNvSpPr>
          <p:nvPr>
            <p:ph type="title"/>
          </p:nvPr>
        </p:nvSpPr>
        <p:spPr>
          <a:xfrm>
            <a:off x="565151" y="764973"/>
            <a:ext cx="3609982" cy="1395043"/>
          </a:xfrm>
        </p:spPr>
        <p:txBody>
          <a:bodyPr anchor="t"/>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4201F2E-A734-364B-8A7D-990D6B8893D0}"/>
              </a:ext>
            </a:extLst>
          </p:cNvPr>
          <p:cNvSpPr>
            <a:spLocks noGrp="1"/>
          </p:cNvSpPr>
          <p:nvPr>
            <p:ph idx="1"/>
          </p:nvPr>
        </p:nvSpPr>
        <p:spPr>
          <a:xfrm>
            <a:off x="5104832" y="770890"/>
            <a:ext cx="6112517" cy="4800570"/>
          </a:xfrm>
        </p:spPr>
        <p:txBody>
          <a:bodyPr/>
          <a:lstStyle>
            <a:lvl1pPr>
              <a:defRPr sz="2800"/>
            </a:lvl1pPr>
            <a:lvl2pPr>
              <a:defRPr sz="24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57CBAD9-5515-1748-8E77-F48160F4ED1C}"/>
              </a:ext>
            </a:extLst>
          </p:cNvPr>
          <p:cNvSpPr>
            <a:spLocks noGrp="1"/>
          </p:cNvSpPr>
          <p:nvPr>
            <p:ph type="body" sz="half" idx="2"/>
          </p:nvPr>
        </p:nvSpPr>
        <p:spPr>
          <a:xfrm>
            <a:off x="565150" y="2160016"/>
            <a:ext cx="3609983" cy="370897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A6C22B-80D4-AA42-9999-401E37B469C0}"/>
              </a:ext>
            </a:extLst>
          </p:cNvPr>
          <p:cNvSpPr>
            <a:spLocks noGrp="1"/>
          </p:cNvSpPr>
          <p:nvPr>
            <p:ph type="dt" sz="half" idx="10"/>
          </p:nvPr>
        </p:nvSpPr>
        <p:spPr/>
        <p:txBody>
          <a:bodyPr/>
          <a:lstStyle/>
          <a:p>
            <a:fld id="{8D2A2EBA-94E6-4EF8-B7A7-B6F8162C997F}" type="datetime1">
              <a:rPr lang="en-US" smtClean="0"/>
              <a:t>12/11/2023</a:t>
            </a:fld>
            <a:endParaRPr lang="en-US"/>
          </a:p>
        </p:txBody>
      </p:sp>
      <p:sp>
        <p:nvSpPr>
          <p:cNvPr id="6" name="Footer Placeholder 5">
            <a:extLst>
              <a:ext uri="{FF2B5EF4-FFF2-40B4-BE49-F238E27FC236}">
                <a16:creationId xmlns:a16="http://schemas.microsoft.com/office/drawing/2014/main" id="{03055DE4-33E8-7F4B-9334-95EA60845C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470FA5-21EE-D742-8F01-C1BAE0FDB064}"/>
              </a:ext>
            </a:extLst>
          </p:cNvPr>
          <p:cNvSpPr>
            <a:spLocks noGrp="1"/>
          </p:cNvSpPr>
          <p:nvPr>
            <p:ph type="sldNum" sz="quarter" idx="12"/>
          </p:nvPr>
        </p:nvSpPr>
        <p:spPr/>
        <p:txBody>
          <a:bodyPr/>
          <a:lstStyle/>
          <a:p>
            <a:fld id="{49ABCAEC-7D34-E549-A96E-FCEDAADBE4B0}" type="slidenum">
              <a:rPr lang="en-US" smtClean="0"/>
              <a:t>‹#›</a:t>
            </a:fld>
            <a:endParaRPr lang="en-US"/>
          </a:p>
        </p:txBody>
      </p:sp>
      <p:cxnSp>
        <p:nvCxnSpPr>
          <p:cNvPr id="8" name="Straight Connector 7">
            <a:extLst>
              <a:ext uri="{FF2B5EF4-FFF2-40B4-BE49-F238E27FC236}">
                <a16:creationId xmlns:a16="http://schemas.microsoft.com/office/drawing/2014/main" id="{BEF966AA-D7DF-F84D-80D4-E216A641B005}"/>
              </a:ext>
            </a:extLst>
          </p:cNvPr>
          <p:cNvCxnSpPr>
            <a:cxnSpLocks/>
          </p:cNvCxnSpPr>
          <p:nvPr/>
        </p:nvCxnSpPr>
        <p:spPr>
          <a:xfrm>
            <a:off x="565150" y="6087110"/>
            <a:ext cx="110583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1830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210D391A-F01E-4947-8A01-95438AA0B323}"/>
              </a:ext>
            </a:extLst>
          </p:cNvPr>
          <p:cNvGrpSpPr/>
          <p:nvPr/>
        </p:nvGrpSpPr>
        <p:grpSpPr>
          <a:xfrm>
            <a:off x="10290315" y="0"/>
            <a:ext cx="1901686" cy="6858000"/>
            <a:chOff x="10290315" y="0"/>
            <a:chExt cx="1901686" cy="6858000"/>
          </a:xfrm>
        </p:grpSpPr>
        <p:sp>
          <p:nvSpPr>
            <p:cNvPr id="17" name="Oval 16">
              <a:extLst>
                <a:ext uri="{FF2B5EF4-FFF2-40B4-BE49-F238E27FC236}">
                  <a16:creationId xmlns:a16="http://schemas.microsoft.com/office/drawing/2014/main" id="{7D499306-B4E0-064D-8F6C-96E9C4BD04DA}"/>
                </a:ext>
              </a:extLst>
            </p:cNvPr>
            <p:cNvSpPr/>
            <p:nvPr/>
          </p:nvSpPr>
          <p:spPr>
            <a:xfrm>
              <a:off x="10290315" y="806362"/>
              <a:ext cx="1130724" cy="11307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AF3D0241-0A21-8047-8CE3-B3FDD5FDF719}"/>
                </a:ext>
              </a:extLst>
            </p:cNvPr>
            <p:cNvSpPr/>
            <p:nvPr/>
          </p:nvSpPr>
          <p:spPr>
            <a:xfrm>
              <a:off x="10290315" y="0"/>
              <a:ext cx="1130724" cy="565573"/>
            </a:xfrm>
            <a:custGeom>
              <a:avLst/>
              <a:gdLst>
                <a:gd name="connsiteX0" fmla="*/ 21 w 1130724"/>
                <a:gd name="connsiteY0" fmla="*/ 0 h 565573"/>
                <a:gd name="connsiteX1" fmla="*/ 1130703 w 1130724"/>
                <a:gd name="connsiteY1" fmla="*/ 0 h 565573"/>
                <a:gd name="connsiteX2" fmla="*/ 1130724 w 1130724"/>
                <a:gd name="connsiteY2" fmla="*/ 211 h 565573"/>
                <a:gd name="connsiteX3" fmla="*/ 565362 w 1130724"/>
                <a:gd name="connsiteY3" fmla="*/ 565573 h 565573"/>
                <a:gd name="connsiteX4" fmla="*/ 0 w 1130724"/>
                <a:gd name="connsiteY4" fmla="*/ 211 h 56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0724" h="565573">
                  <a:moveTo>
                    <a:pt x="21" y="0"/>
                  </a:moveTo>
                  <a:lnTo>
                    <a:pt x="1130703" y="0"/>
                  </a:lnTo>
                  <a:lnTo>
                    <a:pt x="1130724" y="211"/>
                  </a:lnTo>
                  <a:cubicBezTo>
                    <a:pt x="1130724" y="312452"/>
                    <a:pt x="877603" y="565573"/>
                    <a:pt x="565362" y="565573"/>
                  </a:cubicBezTo>
                  <a:cubicBezTo>
                    <a:pt x="253121" y="565573"/>
                    <a:pt x="0" y="31245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18">
              <a:extLst>
                <a:ext uri="{FF2B5EF4-FFF2-40B4-BE49-F238E27FC236}">
                  <a16:creationId xmlns:a16="http://schemas.microsoft.com/office/drawing/2014/main" id="{13083F97-6891-0447-957C-AB0834B826D2}"/>
                </a:ext>
              </a:extLst>
            </p:cNvPr>
            <p:cNvSpPr/>
            <p:nvPr/>
          </p:nvSpPr>
          <p:spPr>
            <a:xfrm>
              <a:off x="11653180" y="6295093"/>
              <a:ext cx="538821" cy="562907"/>
            </a:xfrm>
            <a:custGeom>
              <a:avLst/>
              <a:gdLst>
                <a:gd name="connsiteX0" fmla="*/ 538821 w 538821"/>
                <a:gd name="connsiteY0" fmla="*/ 0 h 562907"/>
                <a:gd name="connsiteX1" fmla="*/ 538821 w 538821"/>
                <a:gd name="connsiteY1" fmla="*/ 562907 h 562907"/>
                <a:gd name="connsiteX2" fmla="*/ 22 w 538821"/>
                <a:gd name="connsiteY2" fmla="*/ 562907 h 562907"/>
                <a:gd name="connsiteX3" fmla="*/ 0 w 538821"/>
                <a:gd name="connsiteY3" fmla="*/ 562686 h 562907"/>
                <a:gd name="connsiteX4" fmla="*/ 451422 w 538821"/>
                <a:gd name="connsiteY4" fmla="*/ 8810 h 562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907">
                  <a:moveTo>
                    <a:pt x="538821" y="0"/>
                  </a:moveTo>
                  <a:lnTo>
                    <a:pt x="538821" y="562907"/>
                  </a:lnTo>
                  <a:lnTo>
                    <a:pt x="22" y="562907"/>
                  </a:lnTo>
                  <a:lnTo>
                    <a:pt x="0" y="562686"/>
                  </a:ln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2EF7D75-E7C1-5147-A03B-3EC641CF3B08}"/>
                </a:ext>
              </a:extLst>
            </p:cNvPr>
            <p:cNvSpPr/>
            <p:nvPr/>
          </p:nvSpPr>
          <p:spPr>
            <a:xfrm>
              <a:off x="11653180" y="3552066"/>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a:extLst>
                <a:ext uri="{FF2B5EF4-FFF2-40B4-BE49-F238E27FC236}">
                  <a16:creationId xmlns:a16="http://schemas.microsoft.com/office/drawing/2014/main" id="{A6D7CA94-94B4-C140-8C68-01C0ADFA1C71}"/>
                </a:ext>
              </a:extLst>
            </p:cNvPr>
            <p:cNvSpPr/>
            <p:nvPr/>
          </p:nvSpPr>
          <p:spPr>
            <a:xfrm>
              <a:off x="11653180" y="2180552"/>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211CD629-C318-A848-BDDE-BBA9465EBF9D}"/>
                </a:ext>
              </a:extLst>
            </p:cNvPr>
            <p:cNvSpPr/>
            <p:nvPr/>
          </p:nvSpPr>
          <p:spPr>
            <a:xfrm>
              <a:off x="11653180" y="809039"/>
              <a:ext cx="538821" cy="1125373"/>
            </a:xfrm>
            <a:custGeom>
              <a:avLst/>
              <a:gdLst>
                <a:gd name="connsiteX0" fmla="*/ 538821 w 538821"/>
                <a:gd name="connsiteY0" fmla="*/ 0 h 1125373"/>
                <a:gd name="connsiteX1" fmla="*/ 538821 w 538821"/>
                <a:gd name="connsiteY1" fmla="*/ 1125373 h 1125373"/>
                <a:gd name="connsiteX2" fmla="*/ 451422 w 538821"/>
                <a:gd name="connsiteY2" fmla="*/ 1116562 h 1125373"/>
                <a:gd name="connsiteX3" fmla="*/ 0 w 538821"/>
                <a:gd name="connsiteY3" fmla="*/ 562686 h 1125373"/>
                <a:gd name="connsiteX4" fmla="*/ 451422 w 538821"/>
                <a:gd name="connsiteY4" fmla="*/ 8810 h 112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1125373">
                  <a:moveTo>
                    <a:pt x="538821" y="0"/>
                  </a:moveTo>
                  <a:lnTo>
                    <a:pt x="538821" y="1125373"/>
                  </a:lnTo>
                  <a:lnTo>
                    <a:pt x="451422" y="1116562"/>
                  </a:lnTo>
                  <a:cubicBezTo>
                    <a:pt x="193796" y="1063844"/>
                    <a:pt x="0" y="835897"/>
                    <a:pt x="0" y="562686"/>
                  </a:cubicBezTo>
                  <a:cubicBezTo>
                    <a:pt x="0" y="289475"/>
                    <a:pt x="193796" y="61528"/>
                    <a:pt x="451422" y="881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22">
              <a:extLst>
                <a:ext uri="{FF2B5EF4-FFF2-40B4-BE49-F238E27FC236}">
                  <a16:creationId xmlns:a16="http://schemas.microsoft.com/office/drawing/2014/main" id="{2A5AC1F8-1370-E946-977E-E4CFC6947BAB}"/>
                </a:ext>
              </a:extLst>
            </p:cNvPr>
            <p:cNvSpPr/>
            <p:nvPr/>
          </p:nvSpPr>
          <p:spPr>
            <a:xfrm>
              <a:off x="11653180" y="0"/>
              <a:ext cx="538821" cy="562898"/>
            </a:xfrm>
            <a:custGeom>
              <a:avLst/>
              <a:gdLst>
                <a:gd name="connsiteX0" fmla="*/ 21 w 538821"/>
                <a:gd name="connsiteY0" fmla="*/ 0 h 562898"/>
                <a:gd name="connsiteX1" fmla="*/ 538821 w 538821"/>
                <a:gd name="connsiteY1" fmla="*/ 0 h 562898"/>
                <a:gd name="connsiteX2" fmla="*/ 538821 w 538821"/>
                <a:gd name="connsiteY2" fmla="*/ 562898 h 562898"/>
                <a:gd name="connsiteX3" fmla="*/ 451422 w 538821"/>
                <a:gd name="connsiteY3" fmla="*/ 554087 h 562898"/>
                <a:gd name="connsiteX4" fmla="*/ 0 w 538821"/>
                <a:gd name="connsiteY4" fmla="*/ 211 h 562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21" h="562898">
                  <a:moveTo>
                    <a:pt x="21" y="0"/>
                  </a:moveTo>
                  <a:lnTo>
                    <a:pt x="538821" y="0"/>
                  </a:lnTo>
                  <a:lnTo>
                    <a:pt x="538821" y="562898"/>
                  </a:lnTo>
                  <a:lnTo>
                    <a:pt x="451422" y="554087"/>
                  </a:lnTo>
                  <a:cubicBezTo>
                    <a:pt x="193796" y="501369"/>
                    <a:pt x="0" y="273422"/>
                    <a:pt x="0" y="211"/>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64CEE63B-B967-0A48-9623-2203767609F4}"/>
              </a:ext>
            </a:extLst>
          </p:cNvPr>
          <p:cNvSpPr>
            <a:spLocks noGrp="1"/>
          </p:cNvSpPr>
          <p:nvPr>
            <p:ph type="title"/>
          </p:nvPr>
        </p:nvSpPr>
        <p:spPr>
          <a:xfrm>
            <a:off x="565150" y="770889"/>
            <a:ext cx="3609983" cy="1389127"/>
          </a:xfrm>
        </p:spPr>
        <p:txBody>
          <a:bodyPr anchor="t"/>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11F680-28C8-FA44-9CD5-20709DA02EA0}"/>
              </a:ext>
            </a:extLst>
          </p:cNvPr>
          <p:cNvSpPr>
            <a:spLocks noGrp="1"/>
          </p:cNvSpPr>
          <p:nvPr>
            <p:ph type="pic" idx="1"/>
          </p:nvPr>
        </p:nvSpPr>
        <p:spPr>
          <a:xfrm>
            <a:off x="5223838" y="890816"/>
            <a:ext cx="6060136" cy="4870411"/>
          </a:xfrm>
          <a:solidFill>
            <a:schemeClr val="bg2"/>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CBD507CD-197E-BB4C-83A6-DA3FC97A22C2}"/>
              </a:ext>
            </a:extLst>
          </p:cNvPr>
          <p:cNvSpPr>
            <a:spLocks noGrp="1"/>
          </p:cNvSpPr>
          <p:nvPr>
            <p:ph type="body" sz="half" idx="2"/>
          </p:nvPr>
        </p:nvSpPr>
        <p:spPr>
          <a:xfrm>
            <a:off x="565150" y="2160016"/>
            <a:ext cx="3609983" cy="360121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9E00AC-DF6C-D548-8A06-D6269BDB0A41}"/>
              </a:ext>
            </a:extLst>
          </p:cNvPr>
          <p:cNvSpPr>
            <a:spLocks noGrp="1"/>
          </p:cNvSpPr>
          <p:nvPr>
            <p:ph type="dt" sz="half" idx="10"/>
          </p:nvPr>
        </p:nvSpPr>
        <p:spPr/>
        <p:txBody>
          <a:bodyPr/>
          <a:lstStyle/>
          <a:p>
            <a:fld id="{596F340B-B2ED-45FC-BCE5-5781057A4CA2}" type="datetime1">
              <a:rPr lang="en-US" smtClean="0"/>
              <a:t>12/11/2023</a:t>
            </a:fld>
            <a:endParaRPr lang="en-US"/>
          </a:p>
        </p:txBody>
      </p:sp>
      <p:sp>
        <p:nvSpPr>
          <p:cNvPr id="6" name="Footer Placeholder 5">
            <a:extLst>
              <a:ext uri="{FF2B5EF4-FFF2-40B4-BE49-F238E27FC236}">
                <a16:creationId xmlns:a16="http://schemas.microsoft.com/office/drawing/2014/main" id="{F8ED113B-57D4-9A4F-BFE0-2A3963B425A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20D9954-FA18-8948-AA52-21CED059476D}"/>
              </a:ext>
            </a:extLst>
          </p:cNvPr>
          <p:cNvSpPr>
            <a:spLocks noGrp="1"/>
          </p:cNvSpPr>
          <p:nvPr>
            <p:ph type="sldNum" sz="quarter" idx="12"/>
          </p:nvPr>
        </p:nvSpPr>
        <p:spPr/>
        <p:txBody>
          <a:bodyPr/>
          <a:lstStyle/>
          <a:p>
            <a:fld id="{49ABCAEC-7D34-E549-A96E-FCEDAADBE4B0}" type="slidenum">
              <a:rPr lang="en-US" smtClean="0"/>
              <a:t>‹#›</a:t>
            </a:fld>
            <a:endParaRPr lang="en-US"/>
          </a:p>
        </p:txBody>
      </p:sp>
      <p:cxnSp>
        <p:nvCxnSpPr>
          <p:cNvPr id="8" name="Straight Connector 7">
            <a:extLst>
              <a:ext uri="{FF2B5EF4-FFF2-40B4-BE49-F238E27FC236}">
                <a16:creationId xmlns:a16="http://schemas.microsoft.com/office/drawing/2014/main" id="{5E3EB25D-2379-5040-B990-1C99B0B7D931}"/>
              </a:ext>
            </a:extLst>
          </p:cNvPr>
          <p:cNvCxnSpPr>
            <a:cxnSpLocks/>
          </p:cNvCxnSpPr>
          <p:nvPr/>
        </p:nvCxnSpPr>
        <p:spPr>
          <a:xfrm>
            <a:off x="565150" y="6087110"/>
            <a:ext cx="110583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1830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0D98E2-86CE-4D4F-9F8F-17C83D19A271}"/>
              </a:ext>
            </a:extLst>
          </p:cNvPr>
          <p:cNvSpPr>
            <a:spLocks noGrp="1"/>
          </p:cNvSpPr>
          <p:nvPr>
            <p:ph type="title"/>
          </p:nvPr>
        </p:nvSpPr>
        <p:spPr>
          <a:xfrm>
            <a:off x="565150" y="770890"/>
            <a:ext cx="7335835" cy="1268984"/>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8804B4F2-48A4-A140-B59B-7A2ED9FD4653}"/>
              </a:ext>
            </a:extLst>
          </p:cNvPr>
          <p:cNvSpPr>
            <a:spLocks noGrp="1"/>
          </p:cNvSpPr>
          <p:nvPr>
            <p:ph type="body" idx="1"/>
          </p:nvPr>
        </p:nvSpPr>
        <p:spPr>
          <a:xfrm>
            <a:off x="565150" y="2160016"/>
            <a:ext cx="7335835" cy="36012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CF4A7E-D5FF-BF48-8E01-8F46150ABFD5}"/>
              </a:ext>
            </a:extLst>
          </p:cNvPr>
          <p:cNvSpPr>
            <a:spLocks noGrp="1"/>
          </p:cNvSpPr>
          <p:nvPr>
            <p:ph type="dt" sz="half" idx="2"/>
          </p:nvPr>
        </p:nvSpPr>
        <p:spPr>
          <a:xfrm>
            <a:off x="566928" y="457200"/>
            <a:ext cx="3608205" cy="365125"/>
          </a:xfrm>
          <a:prstGeom prst="rect">
            <a:avLst/>
          </a:prstGeom>
        </p:spPr>
        <p:txBody>
          <a:bodyPr vert="horz" lIns="91440" tIns="45720" rIns="91440" bIns="45720" rtlCol="0" anchor="ctr"/>
          <a:lstStyle>
            <a:lvl1pPr algn="l">
              <a:defRPr sz="1050" b="0" i="0">
                <a:solidFill>
                  <a:schemeClr val="tx1">
                    <a:tint val="75000"/>
                  </a:schemeClr>
                </a:solidFill>
                <a:latin typeface="+mn-lt"/>
              </a:defRPr>
            </a:lvl1pPr>
          </a:lstStyle>
          <a:p>
            <a:fld id="{4A9F41B0-AA97-44B6-8CDC-81C440A55B15}" type="datetime1">
              <a:rPr lang="en-US" smtClean="0"/>
              <a:t>12/11/2023</a:t>
            </a:fld>
            <a:endParaRPr lang="en-US"/>
          </a:p>
        </p:txBody>
      </p:sp>
      <p:sp>
        <p:nvSpPr>
          <p:cNvPr id="5" name="Footer Placeholder 4">
            <a:extLst>
              <a:ext uri="{FF2B5EF4-FFF2-40B4-BE49-F238E27FC236}">
                <a16:creationId xmlns:a16="http://schemas.microsoft.com/office/drawing/2014/main" id="{CA131757-5039-BF46-B47A-50DA8FFBC078}"/>
              </a:ext>
            </a:extLst>
          </p:cNvPr>
          <p:cNvSpPr>
            <a:spLocks noGrp="1"/>
          </p:cNvSpPr>
          <p:nvPr>
            <p:ph type="ftr" sz="quarter" idx="3"/>
          </p:nvPr>
        </p:nvSpPr>
        <p:spPr>
          <a:xfrm>
            <a:off x="565150" y="6141085"/>
            <a:ext cx="3608205" cy="365125"/>
          </a:xfrm>
          <a:prstGeom prst="rect">
            <a:avLst/>
          </a:prstGeom>
        </p:spPr>
        <p:txBody>
          <a:bodyPr vert="horz" lIns="91440" tIns="45720" rIns="91440" bIns="45720" rtlCol="0" anchor="ctr"/>
          <a:lstStyle>
            <a:lvl1pPr algn="l">
              <a:defRPr sz="1050" b="0" i="0">
                <a:solidFill>
                  <a:schemeClr val="tx1">
                    <a:tint val="75000"/>
                  </a:schemeClr>
                </a:solidFill>
                <a:latin typeface="+mn-lt"/>
              </a:defRPr>
            </a:lvl1pPr>
          </a:lstStyle>
          <a:p>
            <a:endParaRPr lang="en-US"/>
          </a:p>
        </p:txBody>
      </p:sp>
      <p:sp>
        <p:nvSpPr>
          <p:cNvPr id="6" name="Slide Number Placeholder 5">
            <a:extLst>
              <a:ext uri="{FF2B5EF4-FFF2-40B4-BE49-F238E27FC236}">
                <a16:creationId xmlns:a16="http://schemas.microsoft.com/office/drawing/2014/main" id="{AA83FD16-4337-B940-905E-D20A26FD483A}"/>
              </a:ext>
            </a:extLst>
          </p:cNvPr>
          <p:cNvSpPr>
            <a:spLocks noGrp="1"/>
          </p:cNvSpPr>
          <p:nvPr>
            <p:ph type="sldNum" sz="quarter" idx="4"/>
          </p:nvPr>
        </p:nvSpPr>
        <p:spPr>
          <a:xfrm>
            <a:off x="10809678" y="6141085"/>
            <a:ext cx="813816" cy="365125"/>
          </a:xfrm>
          <a:prstGeom prst="rect">
            <a:avLst/>
          </a:prstGeom>
        </p:spPr>
        <p:txBody>
          <a:bodyPr vert="horz" lIns="91440" tIns="45720" rIns="91440" bIns="45720" rtlCol="0" anchor="ctr"/>
          <a:lstStyle>
            <a:lvl1pPr algn="r">
              <a:defRPr sz="1050" b="0" i="0">
                <a:solidFill>
                  <a:schemeClr val="tx1">
                    <a:tint val="75000"/>
                  </a:schemeClr>
                </a:solidFill>
                <a:latin typeface="+mn-lt"/>
              </a:defRPr>
            </a:lvl1pPr>
          </a:lstStyle>
          <a:p>
            <a:fld id="{49ABCAEC-7D34-E549-A96E-FCEDAADBE4B0}" type="slidenum">
              <a:rPr lang="en-US" smtClean="0"/>
              <a:pPr/>
              <a:t>‹#›</a:t>
            </a:fld>
            <a:endParaRPr lang="en-US"/>
          </a:p>
        </p:txBody>
      </p:sp>
    </p:spTree>
    <p:extLst>
      <p:ext uri="{BB962C8B-B14F-4D97-AF65-F5344CB8AC3E}">
        <p14:creationId xmlns:p14="http://schemas.microsoft.com/office/powerpoint/2010/main" val="342330350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hf hdr="0" ftr="0" dt="0"/>
  <p:txStyles>
    <p:title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hyperlink" Target="https://en.wikipedia.org/wiki/Precision_and_recall"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8.png"/><Relationship Id="rId2" Type="http://schemas.openxmlformats.org/officeDocument/2006/relationships/diagramData" Target="../diagrams/data6.xml"/><Relationship Id="rId1" Type="http://schemas.openxmlformats.org/officeDocument/2006/relationships/slideLayout" Target="../slideLayouts/slideLayout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9.png"/><Relationship Id="rId2" Type="http://schemas.openxmlformats.org/officeDocument/2006/relationships/diagramData" Target="../diagrams/data7.xml"/><Relationship Id="rId1" Type="http://schemas.openxmlformats.org/officeDocument/2006/relationships/slideLayout" Target="../slideLayouts/slideLayout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10.png"/><Relationship Id="rId2" Type="http://schemas.openxmlformats.org/officeDocument/2006/relationships/diagramData" Target="../diagrams/data8.xml"/><Relationship Id="rId1" Type="http://schemas.openxmlformats.org/officeDocument/2006/relationships/slideLayout" Target="../slideLayouts/slideLayout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hyperlink" Target="https://hbr.org/2022/07/its-time-to-reimagine-employee-retention" TargetMode="External"/><Relationship Id="rId3" Type="http://schemas.openxmlformats.org/officeDocument/2006/relationships/diagramLayout" Target="../diagrams/layout1.xml"/><Relationship Id="rId7" Type="http://schemas.openxmlformats.org/officeDocument/2006/relationships/hyperlink" Target="https://www.gartner.com/en/newsroom/04-28-2022-gartner-says-us-total-annual-employee-turnover-will-likely-jump-by-nearly-twenty-percent-from-the-prepandemic-annual-average#:~:text=To%20learn%20more%2C%20visit%20gartner.com.%20U.S.%20employee%20annual,million%20quitting%20in%202022%2C%20according%20to%20Gartner%2C%20Inc." TargetMode="Externa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hyperlink" Target="https://www.forbes.com/advisor/business/hr-statistics-trends/" TargetMode="Externa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hyperlink" Target="https://www.linkedin.com/business/talent/blog/talent-strategy/industries-with-the-highest-turnover-rates" TargetMode="External"/><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image" Target="../media/image4.png"/><Relationship Id="rId1" Type="http://schemas.openxmlformats.org/officeDocument/2006/relationships/slideLayout" Target="../slideLayouts/slideLayout6.xml"/><Relationship Id="rId5" Type="http://schemas.openxmlformats.org/officeDocument/2006/relationships/chart" Target="../charts/chart3.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chart" Target="../charts/chart4.xml"/><Relationship Id="rId1" Type="http://schemas.openxmlformats.org/officeDocument/2006/relationships/slideLayout" Target="../slideLayouts/slideLayout6.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49CF0A3-E3FF-D0C1-287F-CD1E590B92FA}"/>
              </a:ext>
            </a:extLst>
          </p:cNvPr>
          <p:cNvSpPr>
            <a:spLocks noGrp="1"/>
          </p:cNvSpPr>
          <p:nvPr>
            <p:ph type="ctrTitle"/>
          </p:nvPr>
        </p:nvSpPr>
        <p:spPr>
          <a:xfrm>
            <a:off x="402724" y="810445"/>
            <a:ext cx="8163761" cy="2866405"/>
          </a:xfrm>
        </p:spPr>
        <p:txBody>
          <a:bodyPr>
            <a:normAutofit/>
          </a:bodyPr>
          <a:lstStyle/>
          <a:p>
            <a:r>
              <a:rPr lang="pt-PT">
                <a:solidFill>
                  <a:schemeClr val="accent1">
                    <a:lumMod val="50000"/>
                  </a:schemeClr>
                </a:solidFill>
                <a:latin typeface="Tenorite" panose="00000500000000000000" pitchFamily="2" charset="0"/>
              </a:rPr>
              <a:t>HR </a:t>
            </a:r>
            <a:r>
              <a:rPr lang="pt-PT" err="1">
                <a:solidFill>
                  <a:schemeClr val="accent1">
                    <a:lumMod val="50000"/>
                  </a:schemeClr>
                </a:solidFill>
                <a:latin typeface="Tenorite" panose="00000500000000000000" pitchFamily="2" charset="0"/>
              </a:rPr>
              <a:t>Analytics</a:t>
            </a:r>
            <a:br>
              <a:rPr lang="pt-PT"/>
            </a:br>
            <a:r>
              <a:rPr lang="pt-PT" sz="3000" cap="all">
                <a:latin typeface="Tenorite" panose="00000500000000000000" pitchFamily="2" charset="0"/>
              </a:rPr>
              <a:t>Addressing</a:t>
            </a:r>
            <a:r>
              <a:rPr lang="pt-PT" sz="3000">
                <a:latin typeface="Tenorite" panose="00000500000000000000" pitchFamily="2" charset="0"/>
              </a:rPr>
              <a:t> </a:t>
            </a:r>
            <a:r>
              <a:rPr lang="pt-PT" sz="3000">
                <a:solidFill>
                  <a:schemeClr val="accent1">
                    <a:lumMod val="75000"/>
                  </a:schemeClr>
                </a:solidFill>
                <a:latin typeface="Tenorite" panose="00000500000000000000" pitchFamily="2" charset="0"/>
              </a:rPr>
              <a:t>BI4ALL</a:t>
            </a:r>
            <a:r>
              <a:rPr lang="pt-PT" sz="3000">
                <a:latin typeface="Tenorite" panose="00000500000000000000" pitchFamily="2" charset="0"/>
              </a:rPr>
              <a:t> EMPLOYEE ATTRITION</a:t>
            </a:r>
          </a:p>
        </p:txBody>
      </p:sp>
      <p:sp>
        <p:nvSpPr>
          <p:cNvPr id="6" name="Subtitle 5">
            <a:extLst>
              <a:ext uri="{FF2B5EF4-FFF2-40B4-BE49-F238E27FC236}">
                <a16:creationId xmlns:a16="http://schemas.microsoft.com/office/drawing/2014/main" id="{F4FE3670-AC17-8764-341A-8D9A3E4411B4}"/>
              </a:ext>
            </a:extLst>
          </p:cNvPr>
          <p:cNvSpPr>
            <a:spLocks noGrp="1"/>
          </p:cNvSpPr>
          <p:nvPr>
            <p:ph type="subTitle" idx="1"/>
          </p:nvPr>
        </p:nvSpPr>
        <p:spPr>
          <a:xfrm>
            <a:off x="544679" y="3862316"/>
            <a:ext cx="5066001" cy="2059873"/>
          </a:xfrm>
        </p:spPr>
        <p:txBody>
          <a:bodyPr>
            <a:normAutofit fontScale="62500" lnSpcReduction="20000"/>
          </a:bodyPr>
          <a:lstStyle/>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3500" i="0" u="none" strike="noStrike" kern="1200" cap="none" spc="50" normalizeH="0" baseline="0" noProof="0">
                <a:ln>
                  <a:noFill/>
                </a:ln>
                <a:solidFill>
                  <a:schemeClr val="accent1">
                    <a:lumMod val="75000"/>
                  </a:schemeClr>
                </a:solidFill>
                <a:effectLst/>
                <a:uLnTx/>
                <a:uFillTx/>
                <a:latin typeface="Tenorite"/>
                <a:ea typeface="+mn-ea"/>
                <a:cs typeface="+mn-cs"/>
              </a:rPr>
              <a:t>Group</a:t>
            </a:r>
            <a:r>
              <a:rPr kumimoji="0" lang="pt-PT" sz="3500" b="1" i="0" u="none" strike="noStrike" kern="1200" cap="none" spc="50" normalizeH="0" baseline="0" noProof="0">
                <a:ln>
                  <a:noFill/>
                </a:ln>
                <a:solidFill>
                  <a:schemeClr val="accent1">
                    <a:lumMod val="75000"/>
                  </a:schemeClr>
                </a:solidFill>
                <a:effectLst/>
                <a:uLnTx/>
                <a:uFillTx/>
                <a:latin typeface="Tenorite"/>
                <a:ea typeface="+mn-ea"/>
                <a:cs typeface="+mn-cs"/>
              </a:rPr>
              <a:t> EDSB23Q</a:t>
            </a:r>
            <a:endParaRPr kumimoji="0" lang="en-US" sz="3500" b="1" i="0" u="none" strike="noStrike" kern="1200" cap="none" spc="50" normalizeH="0" baseline="0" noProof="0">
              <a:ln>
                <a:noFill/>
              </a:ln>
              <a:solidFill>
                <a:schemeClr val="accent1">
                  <a:lumMod val="75000"/>
                </a:schemeClr>
              </a:solidFill>
              <a:effectLst/>
              <a:uLnTx/>
              <a:uFillTx/>
              <a:latin typeface="Tenorite"/>
              <a:ea typeface="+mn-ea"/>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20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André Pereira</a:t>
            </a:r>
            <a:r>
              <a:rPr kumimoji="0" lang="pt-PT" sz="20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 20221204@novaims.unl.pt</a:t>
            </a:r>
            <a:endParaRPr kumimoji="0" lang="pt-PT" sz="2000" b="0" i="0" u="none" strike="noStrike" kern="1200" cap="none" spc="50" normalizeH="0" baseline="0" noProof="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20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Francisco Antelo</a:t>
            </a:r>
            <a:r>
              <a:rPr kumimoji="0" lang="pt-PT" sz="20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a:t>
            </a:r>
            <a:r>
              <a:rPr kumimoji="0" lang="pt-PT" sz="20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 </a:t>
            </a:r>
            <a:r>
              <a:rPr kumimoji="0" lang="pt-PT" sz="20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20221624 @novaims.unl.pt</a:t>
            </a:r>
            <a:endParaRPr kumimoji="0" lang="pt-PT" sz="2000" b="0" i="0" u="none" strike="noStrike" kern="1200" cap="none" spc="50" normalizeH="0" baseline="0" noProof="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20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Hortense Matos</a:t>
            </a:r>
            <a:r>
              <a:rPr kumimoji="0" lang="pt-PT" sz="20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a:t>
            </a:r>
            <a:r>
              <a:rPr kumimoji="0" lang="pt-PT" sz="20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 </a:t>
            </a:r>
            <a:r>
              <a:rPr kumimoji="0" lang="pt-PT" sz="20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20222167 @novaims.unl.pt </a:t>
            </a:r>
            <a:endParaRPr kumimoji="0" lang="pt-PT" sz="2000" b="0" i="0" u="none" strike="noStrike" kern="1200" cap="none" spc="50" normalizeH="0" baseline="0" noProof="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20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Irina Keis</a:t>
            </a:r>
            <a:r>
              <a:rPr kumimoji="0" lang="pt-PT" sz="20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 20222168 @novaims.unl.pt</a:t>
            </a:r>
            <a:endParaRPr kumimoji="0" lang="pt-PT" sz="2000" b="0" i="0" u="none" strike="noStrike" kern="1200" cap="none" spc="50" normalizeH="0" baseline="0" noProof="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2781921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DF29E7B4-6607-540B-2D74-612452C5FB5A}"/>
              </a:ext>
            </a:extLst>
          </p:cNvPr>
          <p:cNvSpPr txBox="1">
            <a:spLocks/>
          </p:cNvSpPr>
          <p:nvPr/>
        </p:nvSpPr>
        <p:spPr>
          <a:xfrm>
            <a:off x="557295" y="153251"/>
            <a:ext cx="9269093"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a:ln>
                  <a:noFill/>
                </a:ln>
                <a:solidFill>
                  <a:srgbClr val="000000"/>
                </a:solidFill>
                <a:effectLst/>
                <a:uLnTx/>
                <a:uFillTx/>
                <a:latin typeface="Neue Haas Grotesk Text Pro"/>
                <a:ea typeface="+mj-ea"/>
                <a:cs typeface="+mj-cs"/>
              </a:rPr>
              <a:t>Team Profile: Career development</a:t>
            </a:r>
          </a:p>
        </p:txBody>
      </p:sp>
      <p:sp>
        <p:nvSpPr>
          <p:cNvPr id="6" name="Text Placeholder 2">
            <a:extLst>
              <a:ext uri="{FF2B5EF4-FFF2-40B4-BE49-F238E27FC236}">
                <a16:creationId xmlns:a16="http://schemas.microsoft.com/office/drawing/2014/main" id="{30C7E2AE-AEA0-D6E9-7253-4F9C0CE33169}"/>
              </a:ext>
            </a:extLst>
          </p:cNvPr>
          <p:cNvSpPr txBox="1">
            <a:spLocks/>
          </p:cNvSpPr>
          <p:nvPr/>
        </p:nvSpPr>
        <p:spPr>
          <a:xfrm>
            <a:off x="561743" y="834672"/>
            <a:ext cx="9861964" cy="5501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panose="00000500000000000000" pitchFamily="2" charset="0"/>
                <a:ea typeface="+mj-lt"/>
                <a:cs typeface="+mj-lt"/>
              </a:rPr>
              <a:t>Most employees show high job involvement as well as a very high job satisfaction, with an average income of $6502. </a:t>
            </a:r>
            <a:endParaRPr lang="en-US" sz="1800" b="1">
              <a:solidFill>
                <a:schemeClr val="accent1">
                  <a:lumMod val="75000"/>
                </a:schemeClr>
              </a:solidFill>
              <a:latin typeface="Tenorite" panose="00000500000000000000" pitchFamily="2" charset="0"/>
            </a:endParaRPr>
          </a:p>
        </p:txBody>
      </p:sp>
      <p:sp>
        <p:nvSpPr>
          <p:cNvPr id="8" name="Text Placeholder 6">
            <a:extLst>
              <a:ext uri="{FF2B5EF4-FFF2-40B4-BE49-F238E27FC236}">
                <a16:creationId xmlns:a16="http://schemas.microsoft.com/office/drawing/2014/main" id="{39C0940A-7D2E-55BD-8F57-446B10716D50}"/>
              </a:ext>
            </a:extLst>
          </p:cNvPr>
          <p:cNvSpPr txBox="1">
            <a:spLocks/>
          </p:cNvSpPr>
          <p:nvPr/>
        </p:nvSpPr>
        <p:spPr>
          <a:xfrm>
            <a:off x="457648" y="1910752"/>
            <a:ext cx="6955798" cy="302384"/>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just">
              <a:defRPr/>
            </a:pPr>
            <a:r>
              <a:rPr lang="en-US">
                <a:solidFill>
                  <a:sysClr val="windowText" lastClr="000000">
                    <a:lumMod val="75000"/>
                    <a:lumOff val="25000"/>
                  </a:sysClr>
                </a:solidFill>
                <a:latin typeface="Tenorite"/>
              </a:rPr>
              <a:t>At BI4ALL, the </a:t>
            </a:r>
            <a:r>
              <a:rPr lang="en-US" b="1">
                <a:solidFill>
                  <a:schemeClr val="accent1">
                    <a:lumMod val="75000"/>
                  </a:schemeClr>
                </a:solidFill>
                <a:latin typeface="Tenorite"/>
              </a:rPr>
              <a:t>median monthly income </a:t>
            </a:r>
            <a:r>
              <a:rPr lang="en-US">
                <a:solidFill>
                  <a:sysClr val="windowText" lastClr="000000">
                    <a:lumMod val="75000"/>
                    <a:lumOff val="25000"/>
                  </a:sysClr>
                </a:solidFill>
                <a:latin typeface="Tenorite"/>
              </a:rPr>
              <a:t>of an employee’s is</a:t>
            </a:r>
            <a:r>
              <a:rPr lang="en-US" b="1">
                <a:solidFill>
                  <a:schemeClr val="accent1">
                    <a:lumMod val="75000"/>
                  </a:schemeClr>
                </a:solidFill>
                <a:latin typeface="Tenorite"/>
              </a:rPr>
              <a:t> $4919</a:t>
            </a:r>
            <a:r>
              <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rPr>
              <a:t>.</a:t>
            </a:r>
          </a:p>
        </p:txBody>
      </p:sp>
      <p:graphicFrame>
        <p:nvGraphicFramePr>
          <p:cNvPr id="2" name="Chart 1">
            <a:extLst>
              <a:ext uri="{FF2B5EF4-FFF2-40B4-BE49-F238E27FC236}">
                <a16:creationId xmlns:a16="http://schemas.microsoft.com/office/drawing/2014/main" id="{29BE2812-98AF-AC1B-14D4-FBC1F3129ED3}"/>
              </a:ext>
            </a:extLst>
          </p:cNvPr>
          <p:cNvGraphicFramePr>
            <a:graphicFrameLocks/>
          </p:cNvGraphicFramePr>
          <p:nvPr>
            <p:extLst>
              <p:ext uri="{D42A27DB-BD31-4B8C-83A1-F6EECF244321}">
                <p14:modId xmlns:p14="http://schemas.microsoft.com/office/powerpoint/2010/main" val="2209007031"/>
              </p:ext>
            </p:extLst>
          </p:nvPr>
        </p:nvGraphicFramePr>
        <p:xfrm>
          <a:off x="8786446" y="2025963"/>
          <a:ext cx="2611745" cy="18804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B1473ED6-A707-29F9-0533-9E4A3E817740}"/>
              </a:ext>
            </a:extLst>
          </p:cNvPr>
          <p:cNvGraphicFramePr>
            <a:graphicFrameLocks/>
          </p:cNvGraphicFramePr>
          <p:nvPr>
            <p:extLst>
              <p:ext uri="{D42A27DB-BD31-4B8C-83A1-F6EECF244321}">
                <p14:modId xmlns:p14="http://schemas.microsoft.com/office/powerpoint/2010/main" val="1913751558"/>
              </p:ext>
            </p:extLst>
          </p:nvPr>
        </p:nvGraphicFramePr>
        <p:xfrm>
          <a:off x="8786446" y="4013536"/>
          <a:ext cx="2611745" cy="1938001"/>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descr="A graph with numbers and lines&#10;&#10;Description automatically generated">
            <a:extLst>
              <a:ext uri="{FF2B5EF4-FFF2-40B4-BE49-F238E27FC236}">
                <a16:creationId xmlns:a16="http://schemas.microsoft.com/office/drawing/2014/main" id="{31A74BA4-9153-A510-CDD4-3F93BA78C6AB}"/>
              </a:ext>
            </a:extLst>
          </p:cNvPr>
          <p:cNvPicPr>
            <a:picLocks noChangeAspect="1"/>
          </p:cNvPicPr>
          <p:nvPr/>
        </p:nvPicPr>
        <p:blipFill>
          <a:blip r:embed="rId4"/>
          <a:stretch>
            <a:fillRect/>
          </a:stretch>
        </p:blipFill>
        <p:spPr>
          <a:xfrm>
            <a:off x="557296" y="2370556"/>
            <a:ext cx="5632490" cy="3580981"/>
          </a:xfrm>
          <a:prstGeom prst="rect">
            <a:avLst/>
          </a:prstGeom>
          <a:ln>
            <a:solidFill>
              <a:schemeClr val="bg1">
                <a:lumMod val="95000"/>
              </a:schemeClr>
            </a:solidFill>
          </a:ln>
        </p:spPr>
      </p:pic>
      <p:sp>
        <p:nvSpPr>
          <p:cNvPr id="9" name="TextBox 8">
            <a:extLst>
              <a:ext uri="{FF2B5EF4-FFF2-40B4-BE49-F238E27FC236}">
                <a16:creationId xmlns:a16="http://schemas.microsoft.com/office/drawing/2014/main" id="{53C50722-9EBD-A82C-85B5-A0C8CF48730C}"/>
              </a:ext>
            </a:extLst>
          </p:cNvPr>
          <p:cNvSpPr txBox="1"/>
          <p:nvPr/>
        </p:nvSpPr>
        <p:spPr>
          <a:xfrm>
            <a:off x="6591581" y="3004038"/>
            <a:ext cx="2042316" cy="1815882"/>
          </a:xfrm>
          <a:prstGeom prst="rect">
            <a:avLst/>
          </a:prstGeom>
          <a:noFill/>
        </p:spPr>
        <p:txBody>
          <a:bodyPr wrap="square">
            <a:spAutoFit/>
          </a:bodyPr>
          <a:lstStyle/>
          <a:p>
            <a:pPr algn="just"/>
            <a:r>
              <a:rPr lang="pt-PT" sz="1400" spc="50">
                <a:solidFill>
                  <a:sysClr val="windowText" lastClr="000000">
                    <a:lumMod val="75000"/>
                    <a:lumOff val="25000"/>
                  </a:sysClr>
                </a:solidFill>
                <a:latin typeface="Tenorite"/>
              </a:rPr>
              <a:t>69% of the company’s </a:t>
            </a:r>
            <a:r>
              <a:rPr lang="pt-PT" sz="1400" b="1" spc="50">
                <a:solidFill>
                  <a:schemeClr val="accent1">
                    <a:lumMod val="75000"/>
                  </a:schemeClr>
                </a:solidFill>
                <a:latin typeface="Tenorite"/>
              </a:rPr>
              <a:t>employees feel highly or very highly involved </a:t>
            </a:r>
            <a:r>
              <a:rPr lang="pt-PT" sz="1400" spc="50">
                <a:solidFill>
                  <a:sysClr val="windowText" lastClr="000000">
                    <a:lumMod val="75000"/>
                    <a:lumOff val="25000"/>
                  </a:sysClr>
                </a:solidFill>
                <a:latin typeface="Tenorite"/>
              </a:rPr>
              <a:t>in their respective roles, while 61% display high to </a:t>
            </a:r>
            <a:r>
              <a:rPr lang="pt-PT" sz="1400" b="1" spc="50">
                <a:solidFill>
                  <a:schemeClr val="accent1">
                    <a:lumMod val="75000"/>
                  </a:schemeClr>
                </a:solidFill>
                <a:latin typeface="Tenorite"/>
              </a:rPr>
              <a:t>very high levels of job satisfaction</a:t>
            </a:r>
            <a:r>
              <a:rPr lang="pt-PT" sz="1400" spc="50">
                <a:solidFill>
                  <a:schemeClr val="accent1">
                    <a:lumMod val="75000"/>
                  </a:schemeClr>
                </a:solidFill>
                <a:latin typeface="Tenorite"/>
              </a:rPr>
              <a:t>.</a:t>
            </a:r>
          </a:p>
        </p:txBody>
      </p:sp>
      <p:sp>
        <p:nvSpPr>
          <p:cNvPr id="10" name="Rectangle 9">
            <a:extLst>
              <a:ext uri="{FF2B5EF4-FFF2-40B4-BE49-F238E27FC236}">
                <a16:creationId xmlns:a16="http://schemas.microsoft.com/office/drawing/2014/main" id="{35DBB741-3B43-7A06-B665-FB78D6E37924}"/>
              </a:ext>
            </a:extLst>
          </p:cNvPr>
          <p:cNvSpPr/>
          <p:nvPr/>
        </p:nvSpPr>
        <p:spPr>
          <a:xfrm>
            <a:off x="10092318" y="2296897"/>
            <a:ext cx="1202867" cy="1554134"/>
          </a:xfrm>
          <a:prstGeom prst="rect">
            <a:avLst/>
          </a:prstGeom>
          <a:noFill/>
          <a:ln w="9525">
            <a:solidFill>
              <a:srgbClr val="3B9EB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2" name="Straight Arrow Connector 11">
            <a:extLst>
              <a:ext uri="{FF2B5EF4-FFF2-40B4-BE49-F238E27FC236}">
                <a16:creationId xmlns:a16="http://schemas.microsoft.com/office/drawing/2014/main" id="{09C231E0-D778-F360-C8DD-DA58A0A28464}"/>
              </a:ext>
            </a:extLst>
          </p:cNvPr>
          <p:cNvCxnSpPr>
            <a:cxnSpLocks/>
          </p:cNvCxnSpPr>
          <p:nvPr/>
        </p:nvCxnSpPr>
        <p:spPr>
          <a:xfrm flipV="1">
            <a:off x="8569569" y="2661138"/>
            <a:ext cx="1430216" cy="8264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405EAD3-934F-51D7-FF3D-6080FEB7CB4F}"/>
              </a:ext>
            </a:extLst>
          </p:cNvPr>
          <p:cNvSpPr/>
          <p:nvPr/>
        </p:nvSpPr>
        <p:spPr>
          <a:xfrm>
            <a:off x="10092318" y="4384431"/>
            <a:ext cx="1202867" cy="1526074"/>
          </a:xfrm>
          <a:prstGeom prst="rect">
            <a:avLst/>
          </a:prstGeom>
          <a:noFill/>
          <a:ln w="9525">
            <a:solidFill>
              <a:srgbClr val="3B9EB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cxnSp>
        <p:nvCxnSpPr>
          <p:cNvPr id="14" name="Straight Arrow Connector 13">
            <a:extLst>
              <a:ext uri="{FF2B5EF4-FFF2-40B4-BE49-F238E27FC236}">
                <a16:creationId xmlns:a16="http://schemas.microsoft.com/office/drawing/2014/main" id="{4092828A-2BDA-282F-2175-43AD66302B7B}"/>
              </a:ext>
            </a:extLst>
          </p:cNvPr>
          <p:cNvCxnSpPr>
            <a:cxnSpLocks/>
          </p:cNvCxnSpPr>
          <p:nvPr/>
        </p:nvCxnSpPr>
        <p:spPr>
          <a:xfrm>
            <a:off x="8633897" y="4510098"/>
            <a:ext cx="13658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Arrow: Right 26">
            <a:extLst>
              <a:ext uri="{FF2B5EF4-FFF2-40B4-BE49-F238E27FC236}">
                <a16:creationId xmlns:a16="http://schemas.microsoft.com/office/drawing/2014/main" id="{A29C6E46-4BD7-F573-F563-6F48D70253CF}"/>
              </a:ext>
            </a:extLst>
          </p:cNvPr>
          <p:cNvSpPr/>
          <p:nvPr/>
        </p:nvSpPr>
        <p:spPr>
          <a:xfrm>
            <a:off x="1573148" y="2400053"/>
            <a:ext cx="491048" cy="118933"/>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t-PT"/>
          </a:p>
        </p:txBody>
      </p:sp>
      <p:cxnSp>
        <p:nvCxnSpPr>
          <p:cNvPr id="31" name="Straight Connector 30">
            <a:extLst>
              <a:ext uri="{FF2B5EF4-FFF2-40B4-BE49-F238E27FC236}">
                <a16:creationId xmlns:a16="http://schemas.microsoft.com/office/drawing/2014/main" id="{86861E0E-BBF0-FF3B-DC32-A459D52FAE20}"/>
              </a:ext>
            </a:extLst>
          </p:cNvPr>
          <p:cNvCxnSpPr>
            <a:cxnSpLocks/>
          </p:cNvCxnSpPr>
          <p:nvPr/>
        </p:nvCxnSpPr>
        <p:spPr>
          <a:xfrm flipV="1">
            <a:off x="2102296" y="2370556"/>
            <a:ext cx="12930" cy="3176804"/>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5" name="Slide Number Placeholder 34">
            <a:extLst>
              <a:ext uri="{FF2B5EF4-FFF2-40B4-BE49-F238E27FC236}">
                <a16:creationId xmlns:a16="http://schemas.microsoft.com/office/drawing/2014/main" id="{BEAD1691-0B5F-FA56-B6F5-97B2FB7BD6DB}"/>
              </a:ext>
            </a:extLst>
          </p:cNvPr>
          <p:cNvSpPr>
            <a:spLocks noGrp="1"/>
          </p:cNvSpPr>
          <p:nvPr>
            <p:ph type="sldNum" sz="quarter" idx="12"/>
          </p:nvPr>
        </p:nvSpPr>
        <p:spPr/>
        <p:txBody>
          <a:bodyPr/>
          <a:lstStyle/>
          <a:p>
            <a:fld id="{49ABCAEC-7D34-E549-A96E-FCEDAADBE4B0}" type="slidenum">
              <a:rPr lang="en-US" smtClean="0"/>
              <a:t>10</a:t>
            </a:fld>
            <a:endParaRPr lang="en-US"/>
          </a:p>
        </p:txBody>
      </p:sp>
    </p:spTree>
    <p:extLst>
      <p:ext uri="{BB962C8B-B14F-4D97-AF65-F5344CB8AC3E}">
        <p14:creationId xmlns:p14="http://schemas.microsoft.com/office/powerpoint/2010/main" val="2926278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080201A8-8130-9940-0CF2-C0372A44A88D}"/>
              </a:ext>
            </a:extLst>
          </p:cNvPr>
          <p:cNvSpPr txBox="1">
            <a:spLocks/>
          </p:cNvSpPr>
          <p:nvPr/>
        </p:nvSpPr>
        <p:spPr>
          <a:xfrm>
            <a:off x="824261" y="1715616"/>
            <a:ext cx="5042954" cy="39956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chemeClr val="bg1">
                    <a:lumMod val="75000"/>
                  </a:schemeClr>
                </a:solidFill>
                <a:effectLst/>
                <a:uLnTx/>
                <a:uFillTx/>
                <a:latin typeface="Tenorite"/>
                <a:ea typeface="+mn-ea"/>
                <a:cs typeface="+mn-cs"/>
              </a:rPr>
              <a:t>Exploring Demographics, Lifestyle, Career Development</a:t>
            </a:r>
          </a:p>
        </p:txBody>
      </p:sp>
      <p:sp>
        <p:nvSpPr>
          <p:cNvPr id="11" name="Text Placeholder 7">
            <a:extLst>
              <a:ext uri="{FF2B5EF4-FFF2-40B4-BE49-F238E27FC236}">
                <a16:creationId xmlns:a16="http://schemas.microsoft.com/office/drawing/2014/main" id="{ED751B13-18AC-48F0-FFEE-047FE223283B}"/>
              </a:ext>
            </a:extLst>
          </p:cNvPr>
          <p:cNvSpPr txBox="1">
            <a:spLocks/>
          </p:cNvSpPr>
          <p:nvPr/>
        </p:nvSpPr>
        <p:spPr>
          <a:xfrm>
            <a:off x="824261" y="2718167"/>
            <a:ext cx="7076114" cy="350209"/>
          </a:xfrm>
          <a:prstGeom prst="rect">
            <a:avLst/>
          </a:prstGeom>
          <a:solidFill>
            <a:srgbClr val="FFFFFF">
              <a:alpha val="69804"/>
            </a:srgbClr>
          </a:solidFill>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rgbClr val="3B9EB1">
                    <a:lumMod val="75000"/>
                  </a:srgbClr>
                </a:solidFill>
                <a:effectLst/>
                <a:uLnTx/>
                <a:uFillTx/>
                <a:latin typeface="Tenorite"/>
                <a:ea typeface="+mn-ea"/>
                <a:cs typeface="+mn-cs"/>
              </a:rPr>
              <a:t>Identify main factors contributing to the employee’s decision to leave the company</a:t>
            </a:r>
            <a:endParaRPr kumimoji="0" lang="en-US" sz="14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endParaRPr>
          </a:p>
        </p:txBody>
      </p:sp>
      <p:sp>
        <p:nvSpPr>
          <p:cNvPr id="16" name="Title 2">
            <a:extLst>
              <a:ext uri="{FF2B5EF4-FFF2-40B4-BE49-F238E27FC236}">
                <a16:creationId xmlns:a16="http://schemas.microsoft.com/office/drawing/2014/main" id="{DF29E7B4-6607-540B-2D74-612452C5FB5A}"/>
              </a:ext>
            </a:extLst>
          </p:cNvPr>
          <p:cNvSpPr txBox="1">
            <a:spLocks/>
          </p:cNvSpPr>
          <p:nvPr/>
        </p:nvSpPr>
        <p:spPr>
          <a:xfrm>
            <a:off x="557295" y="153251"/>
            <a:ext cx="733583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PT" sz="4000" b="1" i="0" u="none" strike="noStrike" kern="1200" cap="none" spc="0" normalizeH="0" baseline="0" noProof="0">
                <a:ln>
                  <a:noFill/>
                </a:ln>
                <a:solidFill>
                  <a:srgbClr val="000000"/>
                </a:solidFill>
                <a:effectLst/>
                <a:uLnTx/>
                <a:uFillTx/>
                <a:latin typeface="Neue Haas Grotesk Text Pro"/>
                <a:ea typeface="+mj-ea"/>
                <a:cs typeface="+mj-cs"/>
              </a:rPr>
              <a:t>Main Project Goals</a:t>
            </a:r>
          </a:p>
        </p:txBody>
      </p:sp>
      <p:sp>
        <p:nvSpPr>
          <p:cNvPr id="3" name="Text Placeholder 6">
            <a:extLst>
              <a:ext uri="{FF2B5EF4-FFF2-40B4-BE49-F238E27FC236}">
                <a16:creationId xmlns:a16="http://schemas.microsoft.com/office/drawing/2014/main" id="{5546F4E6-8DC5-1A81-2628-26990ECC3B32}"/>
              </a:ext>
            </a:extLst>
          </p:cNvPr>
          <p:cNvSpPr txBox="1">
            <a:spLocks/>
          </p:cNvSpPr>
          <p:nvPr/>
        </p:nvSpPr>
        <p:spPr>
          <a:xfrm>
            <a:off x="888792" y="3754108"/>
            <a:ext cx="5042954" cy="39956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chemeClr val="bg1">
                    <a:lumMod val="75000"/>
                  </a:schemeClr>
                </a:solidFill>
                <a:effectLst/>
                <a:uLnTx/>
                <a:uFillTx/>
                <a:latin typeface="Tenorite"/>
                <a:ea typeface="+mn-ea"/>
                <a:cs typeface="+mn-cs"/>
              </a:rPr>
              <a:t>Predicting future employee exits</a:t>
            </a:r>
          </a:p>
        </p:txBody>
      </p:sp>
      <p:sp>
        <p:nvSpPr>
          <p:cNvPr id="4" name="Text Placeholder 6">
            <a:extLst>
              <a:ext uri="{FF2B5EF4-FFF2-40B4-BE49-F238E27FC236}">
                <a16:creationId xmlns:a16="http://schemas.microsoft.com/office/drawing/2014/main" id="{DD68A98E-A2B6-F0B8-6AA0-4A06453DDEB1}"/>
              </a:ext>
            </a:extLst>
          </p:cNvPr>
          <p:cNvSpPr txBox="1">
            <a:spLocks/>
          </p:cNvSpPr>
          <p:nvPr/>
        </p:nvSpPr>
        <p:spPr>
          <a:xfrm>
            <a:off x="888792" y="4783692"/>
            <a:ext cx="8134893" cy="70721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chemeClr val="bg1">
                    <a:lumMod val="75000"/>
                  </a:schemeClr>
                </a:solidFill>
                <a:effectLst/>
                <a:uLnTx/>
                <a:uFillTx/>
                <a:latin typeface="Tenorite"/>
                <a:ea typeface="+mn-ea"/>
                <a:cs typeface="+mn-cs"/>
              </a:rPr>
              <a:t>Propose Retention Strategies that can be implemented to target the factors causing attrition</a:t>
            </a:r>
          </a:p>
        </p:txBody>
      </p:sp>
      <p:graphicFrame>
        <p:nvGraphicFramePr>
          <p:cNvPr id="2" name="Diagram 1">
            <a:extLst>
              <a:ext uri="{FF2B5EF4-FFF2-40B4-BE49-F238E27FC236}">
                <a16:creationId xmlns:a16="http://schemas.microsoft.com/office/drawing/2014/main" id="{05540156-63B3-F0B3-69B0-850741C21F54}"/>
              </a:ext>
            </a:extLst>
          </p:cNvPr>
          <p:cNvGraphicFramePr/>
          <p:nvPr>
            <p:extLst>
              <p:ext uri="{D42A27DB-BD31-4B8C-83A1-F6EECF244321}">
                <p14:modId xmlns:p14="http://schemas.microsoft.com/office/powerpoint/2010/main" val="3259899173"/>
              </p:ext>
            </p:extLst>
          </p:nvPr>
        </p:nvGraphicFramePr>
        <p:xfrm>
          <a:off x="698641" y="1422235"/>
          <a:ext cx="5587858" cy="40461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FAB852C8-87A9-92D4-0425-EA0F36D672EB}"/>
              </a:ext>
            </a:extLst>
          </p:cNvPr>
          <p:cNvSpPr>
            <a:spLocks noGrp="1"/>
          </p:cNvSpPr>
          <p:nvPr>
            <p:ph type="sldNum" sz="quarter" idx="12"/>
          </p:nvPr>
        </p:nvSpPr>
        <p:spPr/>
        <p:txBody>
          <a:bodyPr/>
          <a:lstStyle/>
          <a:p>
            <a:fld id="{49ABCAEC-7D34-E549-A96E-FCEDAADBE4B0}" type="slidenum">
              <a:rPr lang="en-US" smtClean="0"/>
              <a:t>11</a:t>
            </a:fld>
            <a:endParaRPr lang="en-US"/>
          </a:p>
        </p:txBody>
      </p:sp>
    </p:spTree>
    <p:extLst>
      <p:ext uri="{BB962C8B-B14F-4D97-AF65-F5344CB8AC3E}">
        <p14:creationId xmlns:p14="http://schemas.microsoft.com/office/powerpoint/2010/main" val="10031435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16996C51-C667-34EC-83DF-835336DB3EC4}"/>
              </a:ext>
            </a:extLst>
          </p:cNvPr>
          <p:cNvSpPr txBox="1">
            <a:spLocks/>
          </p:cNvSpPr>
          <p:nvPr/>
        </p:nvSpPr>
        <p:spPr>
          <a:xfrm>
            <a:off x="557295" y="153251"/>
            <a:ext cx="9829351"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PT" sz="4000" b="1" i="0" u="none" strike="noStrike" kern="1200" cap="none" spc="0" normalizeH="0" baseline="0" noProof="0">
                <a:ln>
                  <a:noFill/>
                </a:ln>
                <a:solidFill>
                  <a:srgbClr val="000000"/>
                </a:solidFill>
                <a:effectLst/>
                <a:uLnTx/>
                <a:uFillTx/>
                <a:latin typeface="Neue Haas Grotesk Text Pro"/>
                <a:ea typeface="+mj-ea"/>
                <a:cs typeface="+mj-cs"/>
              </a:rPr>
              <a:t>Main factors causing Attrition</a:t>
            </a:r>
          </a:p>
        </p:txBody>
      </p:sp>
      <p:sp>
        <p:nvSpPr>
          <p:cNvPr id="5" name="Subtitle 14">
            <a:extLst>
              <a:ext uri="{FF2B5EF4-FFF2-40B4-BE49-F238E27FC236}">
                <a16:creationId xmlns:a16="http://schemas.microsoft.com/office/drawing/2014/main" id="{D7F7B5B0-AD8D-0858-17B7-0D8D262A69D2}"/>
              </a:ext>
            </a:extLst>
          </p:cNvPr>
          <p:cNvSpPr txBox="1">
            <a:spLocks/>
          </p:cNvSpPr>
          <p:nvPr/>
        </p:nvSpPr>
        <p:spPr>
          <a:xfrm>
            <a:off x="491119" y="6082880"/>
            <a:ext cx="2205189" cy="26399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rgbClr val="000000">
                    <a:lumMod val="75000"/>
                    <a:lumOff val="25000"/>
                  </a:srgbClr>
                </a:solidFill>
                <a:effectLst/>
                <a:uLnTx/>
                <a:uFillTx/>
                <a:latin typeface="Tenorite" panose="00000500000000000000" pitchFamily="2" charset="0"/>
                <a:ea typeface="+mn-ea"/>
                <a:cs typeface="+mn-cs"/>
              </a:rPr>
              <a:t>(Additional details in back-up slides)</a:t>
            </a:r>
            <a:endParaRPr kumimoji="0" lang="pt-PT" sz="700" b="0" i="0" u="none" strike="noStrike" kern="1200" cap="none" spc="0" normalizeH="0" baseline="0" noProof="0">
              <a:ln>
                <a:noFill/>
              </a:ln>
              <a:solidFill>
                <a:srgbClr val="000000">
                  <a:lumMod val="75000"/>
                  <a:lumOff val="25000"/>
                </a:srgbClr>
              </a:solidFill>
              <a:effectLst/>
              <a:uLnTx/>
              <a:uFillTx/>
              <a:latin typeface="Tenorite" panose="00000500000000000000" pitchFamily="2" charset="0"/>
              <a:ea typeface="+mn-ea"/>
              <a:cs typeface="+mn-cs"/>
            </a:endParaRPr>
          </a:p>
        </p:txBody>
      </p:sp>
      <p:sp>
        <p:nvSpPr>
          <p:cNvPr id="7" name="Text Placeholder 2">
            <a:extLst>
              <a:ext uri="{FF2B5EF4-FFF2-40B4-BE49-F238E27FC236}">
                <a16:creationId xmlns:a16="http://schemas.microsoft.com/office/drawing/2014/main" id="{3CB38834-63E2-95E0-2BDC-13947913977F}"/>
              </a:ext>
            </a:extLst>
          </p:cNvPr>
          <p:cNvSpPr txBox="1">
            <a:spLocks/>
          </p:cNvSpPr>
          <p:nvPr/>
        </p:nvSpPr>
        <p:spPr>
          <a:xfrm>
            <a:off x="561743" y="834672"/>
            <a:ext cx="9861964" cy="316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panose="00000500000000000000" pitchFamily="2" charset="0"/>
                <a:ea typeface="+mj-lt"/>
                <a:cs typeface="+mj-lt"/>
              </a:rPr>
              <a:t>Three profiles associated to Employee Age, Compensation and Work Life Balance</a:t>
            </a:r>
            <a:endParaRPr lang="pt-PT" sz="1800" b="1">
              <a:solidFill>
                <a:schemeClr val="accent1">
                  <a:lumMod val="75000"/>
                </a:schemeClr>
              </a:solidFill>
              <a:latin typeface="Tenorite" panose="00000500000000000000" pitchFamily="2" charset="0"/>
            </a:endParaRPr>
          </a:p>
        </p:txBody>
      </p:sp>
      <p:sp>
        <p:nvSpPr>
          <p:cNvPr id="8" name="TextBox 7">
            <a:extLst>
              <a:ext uri="{FF2B5EF4-FFF2-40B4-BE49-F238E27FC236}">
                <a16:creationId xmlns:a16="http://schemas.microsoft.com/office/drawing/2014/main" id="{311603F1-D3FC-2A37-8D6A-D27BEF15C1ED}"/>
              </a:ext>
            </a:extLst>
          </p:cNvPr>
          <p:cNvSpPr txBox="1"/>
          <p:nvPr/>
        </p:nvSpPr>
        <p:spPr>
          <a:xfrm>
            <a:off x="7982712" y="3307202"/>
            <a:ext cx="3408947"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a:solidFill>
                  <a:prstClr val="black"/>
                </a:solidFill>
                <a:latin typeface="Tenorite"/>
              </a:rPr>
              <a:t>Finally, Business Travel, Over Time, Job Involvement, Job Satisfaction, Environment Satisfaction and Distance from Home reflect the </a:t>
            </a:r>
            <a:r>
              <a:rPr lang="en-US" b="1" spc="50">
                <a:solidFill>
                  <a:schemeClr val="accent1">
                    <a:lumMod val="75000"/>
                  </a:schemeClr>
                </a:solidFill>
                <a:latin typeface="Tenorite"/>
              </a:rPr>
              <a:t>work-life balance </a:t>
            </a:r>
            <a:r>
              <a:rPr lang="en-US">
                <a:solidFill>
                  <a:prstClr val="black"/>
                </a:solidFill>
                <a:latin typeface="Tenorite"/>
              </a:rPr>
              <a:t>axis that influence the decision to leave or stay with the company. </a:t>
            </a:r>
          </a:p>
        </p:txBody>
      </p:sp>
      <p:sp>
        <p:nvSpPr>
          <p:cNvPr id="9" name="TextBox 8">
            <a:extLst>
              <a:ext uri="{FF2B5EF4-FFF2-40B4-BE49-F238E27FC236}">
                <a16:creationId xmlns:a16="http://schemas.microsoft.com/office/drawing/2014/main" id="{6F4F4650-E83B-1B95-F6EB-8160E13B4BB8}"/>
              </a:ext>
            </a:extLst>
          </p:cNvPr>
          <p:cNvSpPr txBox="1"/>
          <p:nvPr/>
        </p:nvSpPr>
        <p:spPr>
          <a:xfrm>
            <a:off x="624322" y="3307202"/>
            <a:ext cx="3408947"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a:solidFill>
                  <a:prstClr val="black"/>
                </a:solidFill>
                <a:latin typeface="Tenorite"/>
              </a:rPr>
              <a:t>Monthly Income, Age, Job Level seem to describe a </a:t>
            </a:r>
            <a:r>
              <a:rPr lang="en-US" b="1" spc="50">
                <a:solidFill>
                  <a:schemeClr val="accent1">
                    <a:lumMod val="75000"/>
                  </a:schemeClr>
                </a:solidFill>
                <a:latin typeface="Tenorite"/>
              </a:rPr>
              <a:t>younger employee type </a:t>
            </a:r>
            <a:r>
              <a:rPr lang="en-US">
                <a:solidFill>
                  <a:prstClr val="black"/>
                </a:solidFill>
                <a:latin typeface="Tenorite"/>
              </a:rPr>
              <a:t>who is likely to change in the first years of its career.</a:t>
            </a:r>
          </a:p>
          <a:p>
            <a:pPr algn="just"/>
            <a:endParaRPr lang="en-US">
              <a:solidFill>
                <a:prstClr val="black"/>
              </a:solidFill>
              <a:latin typeface="Tenorite"/>
            </a:endParaRPr>
          </a:p>
        </p:txBody>
      </p:sp>
      <p:sp>
        <p:nvSpPr>
          <p:cNvPr id="10" name="TextBox 9">
            <a:extLst>
              <a:ext uri="{FF2B5EF4-FFF2-40B4-BE49-F238E27FC236}">
                <a16:creationId xmlns:a16="http://schemas.microsoft.com/office/drawing/2014/main" id="{516ED24E-2688-AEDD-2508-5BE2471BF77B}"/>
              </a:ext>
            </a:extLst>
          </p:cNvPr>
          <p:cNvSpPr txBox="1"/>
          <p:nvPr/>
        </p:nvSpPr>
        <p:spPr>
          <a:xfrm>
            <a:off x="4303517" y="3307202"/>
            <a:ext cx="3408947"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a:solidFill>
                  <a:prstClr val="black"/>
                </a:solidFill>
                <a:latin typeface="Tenorite"/>
              </a:rPr>
              <a:t>Monthly Rate, Hourly Rate, Daily Rate and Stock Option Level demonstrate the </a:t>
            </a:r>
            <a:r>
              <a:rPr lang="en-US" b="1" spc="50">
                <a:solidFill>
                  <a:schemeClr val="accent1">
                    <a:lumMod val="75000"/>
                  </a:schemeClr>
                </a:solidFill>
                <a:latin typeface="Tenorite"/>
              </a:rPr>
              <a:t>importance of compensation </a:t>
            </a:r>
            <a:r>
              <a:rPr lang="en-US">
                <a:solidFill>
                  <a:prstClr val="black"/>
                </a:solidFill>
                <a:latin typeface="Tenorite"/>
              </a:rPr>
              <a:t>in the attrition rate levels.</a:t>
            </a:r>
          </a:p>
        </p:txBody>
      </p:sp>
      <p:pic>
        <p:nvPicPr>
          <p:cNvPr id="5122" name="Picture 2" descr="man ">
            <a:extLst>
              <a:ext uri="{FF2B5EF4-FFF2-40B4-BE49-F238E27FC236}">
                <a16:creationId xmlns:a16="http://schemas.microsoft.com/office/drawing/2014/main" id="{2AD06DB8-B70A-8B18-5CA1-5ECDB90BDF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1379" y="1731234"/>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nsurance ">
            <a:extLst>
              <a:ext uri="{FF2B5EF4-FFF2-40B4-BE49-F238E27FC236}">
                <a16:creationId xmlns:a16="http://schemas.microsoft.com/office/drawing/2014/main" id="{836170BE-9EC4-1492-69D2-7D5BD0EC55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8390" y="1749080"/>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Work life balance ">
            <a:extLst>
              <a:ext uri="{FF2B5EF4-FFF2-40B4-BE49-F238E27FC236}">
                <a16:creationId xmlns:a16="http://schemas.microsoft.com/office/drawing/2014/main" id="{0047C250-324A-B893-975C-4D646576D7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59471" y="1755118"/>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32D89BD-A920-C616-C94F-D1A3B11E52CE}"/>
              </a:ext>
            </a:extLst>
          </p:cNvPr>
          <p:cNvSpPr>
            <a:spLocks noGrp="1"/>
          </p:cNvSpPr>
          <p:nvPr>
            <p:ph type="sldNum" sz="quarter" idx="12"/>
          </p:nvPr>
        </p:nvSpPr>
        <p:spPr/>
        <p:txBody>
          <a:bodyPr/>
          <a:lstStyle/>
          <a:p>
            <a:fld id="{49ABCAEC-7D34-E549-A96E-FCEDAADBE4B0}" type="slidenum">
              <a:rPr lang="en-US" smtClean="0"/>
              <a:t>12</a:t>
            </a:fld>
            <a:endParaRPr lang="en-US"/>
          </a:p>
        </p:txBody>
      </p:sp>
    </p:spTree>
    <p:extLst>
      <p:ext uri="{BB962C8B-B14F-4D97-AF65-F5344CB8AC3E}">
        <p14:creationId xmlns:p14="http://schemas.microsoft.com/office/powerpoint/2010/main" val="3520947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080201A8-8130-9940-0CF2-C0372A44A88D}"/>
              </a:ext>
            </a:extLst>
          </p:cNvPr>
          <p:cNvSpPr txBox="1">
            <a:spLocks/>
          </p:cNvSpPr>
          <p:nvPr/>
        </p:nvSpPr>
        <p:spPr>
          <a:xfrm>
            <a:off x="824261" y="1715616"/>
            <a:ext cx="5042954" cy="39956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chemeClr val="bg1">
                    <a:lumMod val="75000"/>
                  </a:schemeClr>
                </a:solidFill>
                <a:effectLst/>
                <a:uLnTx/>
                <a:uFillTx/>
                <a:latin typeface="Tenorite"/>
                <a:ea typeface="+mn-ea"/>
                <a:cs typeface="+mn-cs"/>
              </a:rPr>
              <a:t>Exploring Demographics, Lifestyle, Career Development</a:t>
            </a:r>
          </a:p>
        </p:txBody>
      </p:sp>
      <p:sp>
        <p:nvSpPr>
          <p:cNvPr id="11" name="Text Placeholder 7">
            <a:extLst>
              <a:ext uri="{FF2B5EF4-FFF2-40B4-BE49-F238E27FC236}">
                <a16:creationId xmlns:a16="http://schemas.microsoft.com/office/drawing/2014/main" id="{ED751B13-18AC-48F0-FFEE-047FE223283B}"/>
              </a:ext>
            </a:extLst>
          </p:cNvPr>
          <p:cNvSpPr txBox="1">
            <a:spLocks/>
          </p:cNvSpPr>
          <p:nvPr/>
        </p:nvSpPr>
        <p:spPr>
          <a:xfrm>
            <a:off x="824261" y="2718167"/>
            <a:ext cx="7076114" cy="350209"/>
          </a:xfrm>
          <a:prstGeom prst="rect">
            <a:avLst/>
          </a:prstGeom>
          <a:solidFill>
            <a:srgbClr val="FFFFFF">
              <a:alpha val="69804"/>
            </a:srgbClr>
          </a:solidFill>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chemeClr val="bg1">
                    <a:lumMod val="75000"/>
                  </a:schemeClr>
                </a:solidFill>
                <a:effectLst/>
                <a:uLnTx/>
                <a:uFillTx/>
                <a:latin typeface="Tenorite"/>
                <a:ea typeface="+mn-ea"/>
                <a:cs typeface="+mn-cs"/>
              </a:rPr>
              <a:t>Identify main factors contributing to the employee’s decision to leave the company</a:t>
            </a:r>
          </a:p>
        </p:txBody>
      </p:sp>
      <p:sp>
        <p:nvSpPr>
          <p:cNvPr id="16" name="Title 2">
            <a:extLst>
              <a:ext uri="{FF2B5EF4-FFF2-40B4-BE49-F238E27FC236}">
                <a16:creationId xmlns:a16="http://schemas.microsoft.com/office/drawing/2014/main" id="{DF29E7B4-6607-540B-2D74-612452C5FB5A}"/>
              </a:ext>
            </a:extLst>
          </p:cNvPr>
          <p:cNvSpPr txBox="1">
            <a:spLocks/>
          </p:cNvSpPr>
          <p:nvPr/>
        </p:nvSpPr>
        <p:spPr>
          <a:xfrm>
            <a:off x="557295" y="153251"/>
            <a:ext cx="733583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PT" sz="4000" b="1" i="0" u="none" strike="noStrike" kern="1200" cap="none" spc="0" normalizeH="0" baseline="0" noProof="0">
                <a:ln>
                  <a:noFill/>
                </a:ln>
                <a:solidFill>
                  <a:srgbClr val="000000"/>
                </a:solidFill>
                <a:effectLst/>
                <a:uLnTx/>
                <a:uFillTx/>
                <a:latin typeface="Neue Haas Grotesk Text Pro"/>
                <a:ea typeface="+mj-ea"/>
                <a:cs typeface="+mj-cs"/>
              </a:rPr>
              <a:t>Main Project Goals</a:t>
            </a:r>
          </a:p>
        </p:txBody>
      </p:sp>
      <p:sp>
        <p:nvSpPr>
          <p:cNvPr id="3" name="Text Placeholder 6">
            <a:extLst>
              <a:ext uri="{FF2B5EF4-FFF2-40B4-BE49-F238E27FC236}">
                <a16:creationId xmlns:a16="http://schemas.microsoft.com/office/drawing/2014/main" id="{5546F4E6-8DC5-1A81-2628-26990ECC3B32}"/>
              </a:ext>
            </a:extLst>
          </p:cNvPr>
          <p:cNvSpPr txBox="1">
            <a:spLocks/>
          </p:cNvSpPr>
          <p:nvPr/>
        </p:nvSpPr>
        <p:spPr>
          <a:xfrm>
            <a:off x="888792" y="3754108"/>
            <a:ext cx="5042954" cy="39956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rgbClr val="3B9EB1">
                    <a:lumMod val="75000"/>
                  </a:srgbClr>
                </a:solidFill>
                <a:latin typeface="Tenorite"/>
              </a:rPr>
              <a:t>Predicting future employee exits</a:t>
            </a:r>
          </a:p>
        </p:txBody>
      </p:sp>
      <p:sp>
        <p:nvSpPr>
          <p:cNvPr id="4" name="Text Placeholder 6">
            <a:extLst>
              <a:ext uri="{FF2B5EF4-FFF2-40B4-BE49-F238E27FC236}">
                <a16:creationId xmlns:a16="http://schemas.microsoft.com/office/drawing/2014/main" id="{DD68A98E-A2B6-F0B8-6AA0-4A06453DDEB1}"/>
              </a:ext>
            </a:extLst>
          </p:cNvPr>
          <p:cNvSpPr txBox="1">
            <a:spLocks/>
          </p:cNvSpPr>
          <p:nvPr/>
        </p:nvSpPr>
        <p:spPr>
          <a:xfrm>
            <a:off x="888792" y="4783692"/>
            <a:ext cx="8134893" cy="70721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chemeClr val="bg1">
                    <a:lumMod val="75000"/>
                  </a:schemeClr>
                </a:solidFill>
                <a:effectLst/>
                <a:uLnTx/>
                <a:uFillTx/>
                <a:latin typeface="Tenorite"/>
                <a:ea typeface="+mn-ea"/>
                <a:cs typeface="+mn-cs"/>
              </a:rPr>
              <a:t>Propose Retention Strategies that can be implemented to target the factors causing attrition</a:t>
            </a:r>
          </a:p>
        </p:txBody>
      </p:sp>
      <p:graphicFrame>
        <p:nvGraphicFramePr>
          <p:cNvPr id="2" name="Diagram 1">
            <a:extLst>
              <a:ext uri="{FF2B5EF4-FFF2-40B4-BE49-F238E27FC236}">
                <a16:creationId xmlns:a16="http://schemas.microsoft.com/office/drawing/2014/main" id="{05540156-63B3-F0B3-69B0-850741C21F54}"/>
              </a:ext>
            </a:extLst>
          </p:cNvPr>
          <p:cNvGraphicFramePr/>
          <p:nvPr>
            <p:extLst>
              <p:ext uri="{D42A27DB-BD31-4B8C-83A1-F6EECF244321}">
                <p14:modId xmlns:p14="http://schemas.microsoft.com/office/powerpoint/2010/main" val="4192055397"/>
              </p:ext>
            </p:extLst>
          </p:nvPr>
        </p:nvGraphicFramePr>
        <p:xfrm>
          <a:off x="698641" y="1422235"/>
          <a:ext cx="5587858" cy="40461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92F7C1B9-60E5-3246-1044-DB37604CFAE9}"/>
              </a:ext>
            </a:extLst>
          </p:cNvPr>
          <p:cNvSpPr>
            <a:spLocks noGrp="1"/>
          </p:cNvSpPr>
          <p:nvPr>
            <p:ph type="sldNum" sz="quarter" idx="12"/>
          </p:nvPr>
        </p:nvSpPr>
        <p:spPr/>
        <p:txBody>
          <a:bodyPr/>
          <a:lstStyle/>
          <a:p>
            <a:fld id="{49ABCAEC-7D34-E549-A96E-FCEDAADBE4B0}" type="slidenum">
              <a:rPr lang="en-US" smtClean="0"/>
              <a:t>13</a:t>
            </a:fld>
            <a:endParaRPr lang="en-US"/>
          </a:p>
        </p:txBody>
      </p:sp>
    </p:spTree>
    <p:extLst>
      <p:ext uri="{BB962C8B-B14F-4D97-AF65-F5344CB8AC3E}">
        <p14:creationId xmlns:p14="http://schemas.microsoft.com/office/powerpoint/2010/main" val="4081114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diagram of a positive and negative&#10;&#10;Description automatically generated">
            <a:extLst>
              <a:ext uri="{FF2B5EF4-FFF2-40B4-BE49-F238E27FC236}">
                <a16:creationId xmlns:a16="http://schemas.microsoft.com/office/drawing/2014/main" id="{9F828BE4-2F00-C08B-A50E-32D367EEF576}"/>
              </a:ext>
            </a:extLst>
          </p:cNvPr>
          <p:cNvPicPr>
            <a:picLocks noChangeAspect="1"/>
          </p:cNvPicPr>
          <p:nvPr/>
        </p:nvPicPr>
        <p:blipFill rotWithShape="1">
          <a:blip r:embed="rId3">
            <a:clrChange>
              <a:clrFrom>
                <a:srgbClr val="FFFFFF"/>
              </a:clrFrom>
              <a:clrTo>
                <a:srgbClr val="FFFFFF">
                  <a:alpha val="0"/>
                </a:srgbClr>
              </a:clrTo>
            </a:clrChange>
            <a:extLst>
              <a:ext uri="{837473B0-CC2E-450A-ABE3-18F120FF3D39}">
                <a1611:picAttrSrcUrl xmlns:a1611="http://schemas.microsoft.com/office/drawing/2016/11/main" r:id="rId4"/>
              </a:ext>
            </a:extLst>
          </a:blip>
          <a:srcRect l="6457" t="2189" r="6620" b="4779"/>
          <a:stretch/>
        </p:blipFill>
        <p:spPr>
          <a:xfrm>
            <a:off x="926786" y="1544703"/>
            <a:ext cx="2654614" cy="4471682"/>
          </a:xfrm>
          <a:prstGeom prst="rect">
            <a:avLst/>
          </a:prstGeom>
        </p:spPr>
      </p:pic>
      <p:sp>
        <p:nvSpPr>
          <p:cNvPr id="4" name="Title 2">
            <a:extLst>
              <a:ext uri="{FF2B5EF4-FFF2-40B4-BE49-F238E27FC236}">
                <a16:creationId xmlns:a16="http://schemas.microsoft.com/office/drawing/2014/main" id="{69623466-91AF-822C-7900-42D70C694D7E}"/>
              </a:ext>
            </a:extLst>
          </p:cNvPr>
          <p:cNvSpPr txBox="1">
            <a:spLocks/>
          </p:cNvSpPr>
          <p:nvPr/>
        </p:nvSpPr>
        <p:spPr>
          <a:xfrm>
            <a:off x="557295" y="153251"/>
            <a:ext cx="1041550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a:defRPr/>
            </a:pPr>
            <a:r>
              <a:rPr lang="en-US">
                <a:solidFill>
                  <a:srgbClr val="000000"/>
                </a:solidFill>
                <a:ea typeface="+mj-lt"/>
                <a:cs typeface="+mj-lt"/>
              </a:rPr>
              <a:t>Employee Attrition: Performance Metrics</a:t>
            </a:r>
            <a:endParaRPr lang="pt-PT" sz="4000" b="1" i="0" u="none" strike="noStrike" kern="1200" cap="none" spc="0" normalizeH="0" baseline="0" noProof="0">
              <a:ln>
                <a:noFill/>
              </a:ln>
              <a:solidFill>
                <a:srgbClr val="000000"/>
              </a:solidFill>
              <a:effectLst/>
              <a:uLnTx/>
              <a:uFillTx/>
              <a:latin typeface="Neue Haas Grotesk Text Pro"/>
            </a:endParaRPr>
          </a:p>
        </p:txBody>
      </p:sp>
      <p:sp>
        <p:nvSpPr>
          <p:cNvPr id="6" name="Text Placeholder 2">
            <a:extLst>
              <a:ext uri="{FF2B5EF4-FFF2-40B4-BE49-F238E27FC236}">
                <a16:creationId xmlns:a16="http://schemas.microsoft.com/office/drawing/2014/main" id="{79CA3511-C50B-4811-D22F-721555BD92E6}"/>
              </a:ext>
            </a:extLst>
          </p:cNvPr>
          <p:cNvSpPr txBox="1">
            <a:spLocks/>
          </p:cNvSpPr>
          <p:nvPr/>
        </p:nvSpPr>
        <p:spPr>
          <a:xfrm>
            <a:off x="561743" y="834672"/>
            <a:ext cx="10229349" cy="52106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a:rPr>
              <a:t>Recall was considered the most valuable metric, as a higher value captures most of the departing employees. False negatives were considered less important than false positives.</a:t>
            </a:r>
          </a:p>
          <a:p>
            <a:pPr marL="0" indent="0">
              <a:buNone/>
            </a:pPr>
            <a:endParaRPr lang="en-US" sz="1800" b="1">
              <a:solidFill>
                <a:schemeClr val="accent1">
                  <a:lumMod val="75000"/>
                </a:schemeClr>
              </a:solidFill>
              <a:latin typeface="Tenorite" panose="00000500000000000000" pitchFamily="2" charset="0"/>
            </a:endParaRPr>
          </a:p>
        </p:txBody>
      </p:sp>
      <p:sp>
        <p:nvSpPr>
          <p:cNvPr id="7" name="Rectangle: Rounded Corners 6">
            <a:extLst>
              <a:ext uri="{FF2B5EF4-FFF2-40B4-BE49-F238E27FC236}">
                <a16:creationId xmlns:a16="http://schemas.microsoft.com/office/drawing/2014/main" id="{80E48CC2-03B3-97B4-77F5-08B0B7EC5839}"/>
              </a:ext>
            </a:extLst>
          </p:cNvPr>
          <p:cNvSpPr/>
          <p:nvPr/>
        </p:nvSpPr>
        <p:spPr>
          <a:xfrm>
            <a:off x="3955217" y="1733294"/>
            <a:ext cx="7079368" cy="122857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pt-PT">
              <a:solidFill>
                <a:schemeClr val="accent1">
                  <a:lumMod val="75000"/>
                </a:schemeClr>
              </a:solidFill>
              <a:latin typeface="Tenorite" panose="00000500000000000000" pitchFamily="2" charset="0"/>
            </a:endParaRPr>
          </a:p>
          <a:p>
            <a:pPr algn="just"/>
            <a:r>
              <a:rPr lang="pt-PT" b="1">
                <a:solidFill>
                  <a:schemeClr val="tx1"/>
                </a:solidFill>
                <a:latin typeface="Tenorite"/>
              </a:rPr>
              <a:t>Precision</a:t>
            </a:r>
            <a:r>
              <a:rPr lang="pt-PT">
                <a:solidFill>
                  <a:schemeClr val="tx1"/>
                </a:solidFill>
                <a:latin typeface="Tenorite"/>
              </a:rPr>
              <a:t> - </a:t>
            </a:r>
            <a:r>
              <a:rPr lang="pt-PT">
                <a:solidFill>
                  <a:schemeClr val="tx1"/>
                </a:solidFill>
                <a:latin typeface="Tenorite"/>
                <a:cs typeface="Segoe UI"/>
              </a:rPr>
              <a:t>measures the accuracy of the positive predictions made by the model. In our case, a model with high precision is much better at predicting that the employee will leave the company.</a:t>
            </a:r>
            <a:endParaRPr lang="pt-PT">
              <a:solidFill>
                <a:schemeClr val="tx1"/>
              </a:solidFill>
              <a:latin typeface="Tenorite" panose="00000500000000000000" pitchFamily="2" charset="0"/>
              <a:cs typeface="Segoe UI"/>
            </a:endParaRPr>
          </a:p>
          <a:p>
            <a:pPr algn="ctr"/>
            <a:endParaRPr lang="pt-PT">
              <a:solidFill>
                <a:schemeClr val="accent1">
                  <a:lumMod val="75000"/>
                </a:schemeClr>
              </a:solidFill>
              <a:latin typeface="Tenorite" panose="00000500000000000000" pitchFamily="2" charset="0"/>
            </a:endParaRPr>
          </a:p>
        </p:txBody>
      </p:sp>
      <p:sp>
        <p:nvSpPr>
          <p:cNvPr id="8" name="Rectangle: Rounded Corners 7">
            <a:extLst>
              <a:ext uri="{FF2B5EF4-FFF2-40B4-BE49-F238E27FC236}">
                <a16:creationId xmlns:a16="http://schemas.microsoft.com/office/drawing/2014/main" id="{57F82214-0BF1-31AD-3ED7-EF8E2BEAC4C5}"/>
              </a:ext>
            </a:extLst>
          </p:cNvPr>
          <p:cNvSpPr/>
          <p:nvPr/>
        </p:nvSpPr>
        <p:spPr>
          <a:xfrm>
            <a:off x="3955215" y="3189080"/>
            <a:ext cx="7048475" cy="122857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pt-PT">
              <a:solidFill>
                <a:schemeClr val="bg1"/>
              </a:solidFill>
              <a:latin typeface="Tenorite" panose="00000500000000000000" pitchFamily="2" charset="0"/>
            </a:endParaRPr>
          </a:p>
          <a:p>
            <a:pPr algn="just"/>
            <a:r>
              <a:rPr lang="pt-PT" b="1">
                <a:solidFill>
                  <a:schemeClr val="tx1"/>
                </a:solidFill>
                <a:latin typeface="Tenorite"/>
              </a:rPr>
              <a:t>Recall </a:t>
            </a:r>
            <a:r>
              <a:rPr lang="pt-PT">
                <a:solidFill>
                  <a:schemeClr val="tx1"/>
                </a:solidFill>
                <a:latin typeface="Tenorite"/>
              </a:rPr>
              <a:t>- </a:t>
            </a:r>
            <a:r>
              <a:rPr lang="pt-PT">
                <a:solidFill>
                  <a:schemeClr val="tx1"/>
                </a:solidFill>
                <a:latin typeface="Tenorite"/>
                <a:cs typeface="Segoe UI"/>
              </a:rPr>
              <a:t>measures the model's ability to identify all relevant elements. In </a:t>
            </a:r>
            <a:r>
              <a:rPr lang="pt-PT" err="1">
                <a:solidFill>
                  <a:schemeClr val="tx1"/>
                </a:solidFill>
                <a:latin typeface="Tenorite"/>
                <a:cs typeface="Segoe UI"/>
              </a:rPr>
              <a:t>our</a:t>
            </a:r>
            <a:r>
              <a:rPr lang="pt-PT">
                <a:solidFill>
                  <a:schemeClr val="tx1"/>
                </a:solidFill>
                <a:latin typeface="Tenorite"/>
                <a:cs typeface="Segoe UI"/>
              </a:rPr>
              <a:t> case, a </a:t>
            </a:r>
            <a:r>
              <a:rPr lang="pt-PT" err="1">
                <a:solidFill>
                  <a:schemeClr val="tx1"/>
                </a:solidFill>
                <a:latin typeface="Tenorite"/>
                <a:cs typeface="Segoe UI"/>
              </a:rPr>
              <a:t>model</a:t>
            </a:r>
            <a:r>
              <a:rPr lang="pt-PT">
                <a:solidFill>
                  <a:schemeClr val="tx1"/>
                </a:solidFill>
                <a:latin typeface="Tenorite"/>
                <a:cs typeface="Segoe UI"/>
              </a:rPr>
              <a:t> </a:t>
            </a:r>
            <a:r>
              <a:rPr lang="pt-PT" err="1">
                <a:solidFill>
                  <a:schemeClr val="tx1"/>
                </a:solidFill>
                <a:latin typeface="Tenorite"/>
                <a:cs typeface="Segoe UI"/>
              </a:rPr>
              <a:t>with</a:t>
            </a:r>
            <a:r>
              <a:rPr lang="pt-PT">
                <a:solidFill>
                  <a:schemeClr val="tx1"/>
                </a:solidFill>
                <a:latin typeface="Tenorite"/>
                <a:cs typeface="Segoe UI"/>
              </a:rPr>
              <a:t> </a:t>
            </a:r>
            <a:r>
              <a:rPr lang="pt-PT" err="1">
                <a:solidFill>
                  <a:schemeClr val="tx1"/>
                </a:solidFill>
                <a:latin typeface="Tenorite"/>
                <a:cs typeface="Segoe UI"/>
              </a:rPr>
              <a:t>high</a:t>
            </a:r>
            <a:r>
              <a:rPr lang="pt-PT">
                <a:solidFill>
                  <a:schemeClr val="tx1"/>
                </a:solidFill>
                <a:latin typeface="Tenorite"/>
                <a:cs typeface="Segoe UI"/>
              </a:rPr>
              <a:t> </a:t>
            </a:r>
            <a:r>
              <a:rPr lang="pt-PT" err="1">
                <a:solidFill>
                  <a:schemeClr val="tx1"/>
                </a:solidFill>
                <a:latin typeface="Tenorite"/>
                <a:cs typeface="Segoe UI"/>
              </a:rPr>
              <a:t>recall</a:t>
            </a:r>
            <a:r>
              <a:rPr lang="pt-PT">
                <a:solidFill>
                  <a:schemeClr val="tx1"/>
                </a:solidFill>
                <a:latin typeface="Tenorite"/>
                <a:cs typeface="Segoe UI"/>
              </a:rPr>
              <a:t> </a:t>
            </a:r>
            <a:r>
              <a:rPr lang="pt-PT" err="1">
                <a:solidFill>
                  <a:schemeClr val="tx1"/>
                </a:solidFill>
                <a:latin typeface="Tenorite"/>
                <a:cs typeface="Segoe UI"/>
              </a:rPr>
              <a:t>will</a:t>
            </a:r>
            <a:r>
              <a:rPr lang="pt-PT">
                <a:solidFill>
                  <a:schemeClr val="tx1"/>
                </a:solidFill>
                <a:latin typeface="Tenorite"/>
                <a:cs typeface="Segoe UI"/>
              </a:rPr>
              <a:t> capture </a:t>
            </a:r>
            <a:r>
              <a:rPr lang="pt-PT" err="1">
                <a:solidFill>
                  <a:schemeClr val="tx1"/>
                </a:solidFill>
                <a:latin typeface="Tenorite"/>
                <a:cs typeface="Segoe UI"/>
              </a:rPr>
              <a:t>most</a:t>
            </a:r>
            <a:r>
              <a:rPr lang="pt-PT">
                <a:solidFill>
                  <a:schemeClr val="tx1"/>
                </a:solidFill>
                <a:latin typeface="Tenorite"/>
                <a:cs typeface="Segoe UI"/>
              </a:rPr>
              <a:t> </a:t>
            </a:r>
            <a:r>
              <a:rPr lang="pt-PT" err="1">
                <a:solidFill>
                  <a:schemeClr val="tx1"/>
                </a:solidFill>
                <a:latin typeface="Tenorite"/>
                <a:cs typeface="Segoe UI"/>
              </a:rPr>
              <a:t>of</a:t>
            </a:r>
            <a:r>
              <a:rPr lang="pt-PT">
                <a:solidFill>
                  <a:schemeClr val="tx1"/>
                </a:solidFill>
                <a:latin typeface="Tenorite"/>
                <a:cs typeface="Segoe UI"/>
              </a:rPr>
              <a:t> </a:t>
            </a:r>
            <a:r>
              <a:rPr lang="pt-PT" err="1">
                <a:solidFill>
                  <a:schemeClr val="tx1"/>
                </a:solidFill>
                <a:latin typeface="Tenorite"/>
                <a:cs typeface="Segoe UI"/>
              </a:rPr>
              <a:t>the</a:t>
            </a:r>
            <a:r>
              <a:rPr lang="pt-PT">
                <a:solidFill>
                  <a:schemeClr val="tx1"/>
                </a:solidFill>
                <a:latin typeface="Tenorite"/>
                <a:cs typeface="Segoe UI"/>
              </a:rPr>
              <a:t> </a:t>
            </a:r>
            <a:r>
              <a:rPr lang="pt-PT" err="1">
                <a:solidFill>
                  <a:schemeClr val="tx1"/>
                </a:solidFill>
                <a:latin typeface="Tenorite"/>
                <a:cs typeface="Segoe UI"/>
              </a:rPr>
              <a:t>employees</a:t>
            </a:r>
            <a:r>
              <a:rPr lang="pt-PT">
                <a:solidFill>
                  <a:schemeClr val="tx1"/>
                </a:solidFill>
                <a:latin typeface="Tenorite"/>
                <a:cs typeface="Segoe UI"/>
              </a:rPr>
              <a:t> </a:t>
            </a:r>
            <a:r>
              <a:rPr lang="pt-PT" err="1">
                <a:solidFill>
                  <a:schemeClr val="tx1"/>
                </a:solidFill>
                <a:latin typeface="Tenorite"/>
                <a:cs typeface="Segoe UI"/>
              </a:rPr>
              <a:t>that</a:t>
            </a:r>
            <a:r>
              <a:rPr lang="pt-PT">
                <a:solidFill>
                  <a:schemeClr val="tx1"/>
                </a:solidFill>
                <a:latin typeface="Tenorite"/>
                <a:cs typeface="Segoe UI"/>
              </a:rPr>
              <a:t> </a:t>
            </a:r>
            <a:r>
              <a:rPr lang="pt-PT" err="1">
                <a:solidFill>
                  <a:schemeClr val="tx1"/>
                </a:solidFill>
                <a:latin typeface="Tenorite"/>
                <a:cs typeface="Segoe UI"/>
              </a:rPr>
              <a:t>intend</a:t>
            </a:r>
            <a:r>
              <a:rPr lang="pt-PT">
                <a:solidFill>
                  <a:schemeClr val="tx1"/>
                </a:solidFill>
                <a:latin typeface="Tenorite"/>
                <a:cs typeface="Segoe UI"/>
              </a:rPr>
              <a:t> to </a:t>
            </a:r>
            <a:r>
              <a:rPr lang="pt-PT" err="1">
                <a:solidFill>
                  <a:schemeClr val="tx1"/>
                </a:solidFill>
                <a:latin typeface="Tenorite"/>
                <a:cs typeface="Segoe UI"/>
              </a:rPr>
              <a:t>leave</a:t>
            </a:r>
            <a:r>
              <a:rPr lang="pt-PT">
                <a:solidFill>
                  <a:schemeClr val="tx1"/>
                </a:solidFill>
                <a:latin typeface="Tenorite"/>
                <a:cs typeface="Segoe UI"/>
              </a:rPr>
              <a:t> </a:t>
            </a:r>
            <a:r>
              <a:rPr lang="pt-PT" err="1">
                <a:solidFill>
                  <a:schemeClr val="tx1"/>
                </a:solidFill>
                <a:latin typeface="Tenorite"/>
                <a:cs typeface="Segoe UI"/>
              </a:rPr>
              <a:t>the</a:t>
            </a:r>
            <a:r>
              <a:rPr lang="pt-PT">
                <a:solidFill>
                  <a:schemeClr val="tx1"/>
                </a:solidFill>
                <a:latin typeface="Tenorite"/>
                <a:cs typeface="Segoe UI"/>
              </a:rPr>
              <a:t> </a:t>
            </a:r>
            <a:r>
              <a:rPr lang="pt-PT" err="1">
                <a:solidFill>
                  <a:schemeClr val="tx1"/>
                </a:solidFill>
                <a:latin typeface="Tenorite"/>
                <a:cs typeface="Segoe UI"/>
              </a:rPr>
              <a:t>company</a:t>
            </a:r>
            <a:r>
              <a:rPr lang="pt-PT">
                <a:solidFill>
                  <a:schemeClr val="tx1"/>
                </a:solidFill>
                <a:latin typeface="Tenorite"/>
                <a:cs typeface="Segoe UI"/>
              </a:rPr>
              <a:t>.</a:t>
            </a:r>
          </a:p>
          <a:p>
            <a:endParaRPr lang="pt-PT">
              <a:solidFill>
                <a:schemeClr val="accent1">
                  <a:lumMod val="75000"/>
                </a:schemeClr>
              </a:solidFill>
              <a:latin typeface="Tenorite" panose="00000500000000000000" pitchFamily="2" charset="0"/>
            </a:endParaRPr>
          </a:p>
        </p:txBody>
      </p:sp>
      <p:sp>
        <p:nvSpPr>
          <p:cNvPr id="9" name="Rectangle: Rounded Corners 8">
            <a:extLst>
              <a:ext uri="{FF2B5EF4-FFF2-40B4-BE49-F238E27FC236}">
                <a16:creationId xmlns:a16="http://schemas.microsoft.com/office/drawing/2014/main" id="{7C30CBD1-319F-B9AD-1020-96449A7C787B}"/>
              </a:ext>
            </a:extLst>
          </p:cNvPr>
          <p:cNvSpPr/>
          <p:nvPr/>
        </p:nvSpPr>
        <p:spPr>
          <a:xfrm>
            <a:off x="3955215" y="4537949"/>
            <a:ext cx="7017585" cy="122857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pt-PT" b="1">
                <a:solidFill>
                  <a:schemeClr val="tx1"/>
                </a:solidFill>
                <a:latin typeface="Tenorite" panose="00000500000000000000" pitchFamily="2" charset="0"/>
              </a:rPr>
              <a:t>F1-score</a:t>
            </a:r>
            <a:r>
              <a:rPr lang="pt-PT">
                <a:solidFill>
                  <a:schemeClr val="tx1"/>
                </a:solidFill>
                <a:latin typeface="Tenorite" panose="00000500000000000000" pitchFamily="2" charset="0"/>
              </a:rPr>
              <a:t> - </a:t>
            </a:r>
            <a:r>
              <a:rPr lang="en-US">
                <a:solidFill>
                  <a:schemeClr val="tx1"/>
                </a:solidFill>
                <a:latin typeface="Tenorite" panose="00000500000000000000" pitchFamily="2" charset="0"/>
              </a:rPr>
              <a:t>the harmonic mean of precision and recall. It favors classifiers </a:t>
            </a:r>
            <a:r>
              <a:rPr lang="en-US">
                <a:solidFill>
                  <a:schemeClr val="tx1"/>
                </a:solidFill>
                <a:latin typeface="Tenorite" panose="00000500000000000000" pitchFamily="2" charset="0"/>
                <a:ea typeface="+mn-lt"/>
                <a:cs typeface="+mn-lt"/>
              </a:rPr>
              <a:t>that have similar precision and recall.</a:t>
            </a:r>
            <a:endParaRPr lang="pt-PT">
              <a:solidFill>
                <a:schemeClr val="tx1"/>
              </a:solidFill>
              <a:latin typeface="Tenorite" panose="00000500000000000000" pitchFamily="2" charset="0"/>
              <a:ea typeface="+mn-lt"/>
              <a:cs typeface="+mn-lt"/>
            </a:endParaRPr>
          </a:p>
        </p:txBody>
      </p:sp>
      <p:sp>
        <p:nvSpPr>
          <p:cNvPr id="3" name="Subtitle 14">
            <a:extLst>
              <a:ext uri="{FF2B5EF4-FFF2-40B4-BE49-F238E27FC236}">
                <a16:creationId xmlns:a16="http://schemas.microsoft.com/office/drawing/2014/main" id="{98EA4056-DE24-2AE4-D369-2A4586722488}"/>
              </a:ext>
            </a:extLst>
          </p:cNvPr>
          <p:cNvSpPr txBox="1">
            <a:spLocks/>
          </p:cNvSpPr>
          <p:nvPr/>
        </p:nvSpPr>
        <p:spPr>
          <a:xfrm>
            <a:off x="491119" y="6082880"/>
            <a:ext cx="2205189" cy="263997"/>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defRPr/>
            </a:pPr>
            <a:r>
              <a:rPr lang="en-US" sz="700">
                <a:solidFill>
                  <a:srgbClr val="000000"/>
                </a:solidFill>
                <a:latin typeface="Tenorite"/>
              </a:rPr>
              <a:t>Definitions by </a:t>
            </a:r>
            <a:r>
              <a:rPr lang="en-US" sz="700" err="1">
                <a:solidFill>
                  <a:srgbClr val="000000"/>
                </a:solidFill>
                <a:latin typeface="Tenorite"/>
              </a:rPr>
              <a:t>Géron</a:t>
            </a:r>
            <a:r>
              <a:rPr lang="en-US" sz="700">
                <a:solidFill>
                  <a:srgbClr val="000000"/>
                </a:solidFill>
                <a:latin typeface="Tenorite"/>
              </a:rPr>
              <a:t> (2022)</a:t>
            </a:r>
            <a:endParaRPr lang="en-US">
              <a:ea typeface="+mn-ea"/>
              <a:cs typeface="+mn-cs"/>
            </a:endParaRPr>
          </a:p>
        </p:txBody>
      </p:sp>
      <p:sp>
        <p:nvSpPr>
          <p:cNvPr id="2" name="Slide Number Placeholder 1">
            <a:extLst>
              <a:ext uri="{FF2B5EF4-FFF2-40B4-BE49-F238E27FC236}">
                <a16:creationId xmlns:a16="http://schemas.microsoft.com/office/drawing/2014/main" id="{31ECA21D-B494-37BA-D48A-C50ADCB12DC1}"/>
              </a:ext>
            </a:extLst>
          </p:cNvPr>
          <p:cNvSpPr>
            <a:spLocks noGrp="1"/>
          </p:cNvSpPr>
          <p:nvPr>
            <p:ph type="sldNum" sz="quarter" idx="12"/>
          </p:nvPr>
        </p:nvSpPr>
        <p:spPr/>
        <p:txBody>
          <a:bodyPr/>
          <a:lstStyle/>
          <a:p>
            <a:fld id="{49ABCAEC-7D34-E549-A96E-FCEDAADBE4B0}" type="slidenum">
              <a:rPr lang="en-US" smtClean="0"/>
              <a:t>14</a:t>
            </a:fld>
            <a:endParaRPr lang="en-US"/>
          </a:p>
        </p:txBody>
      </p:sp>
    </p:spTree>
    <p:extLst>
      <p:ext uri="{BB962C8B-B14F-4D97-AF65-F5344CB8AC3E}">
        <p14:creationId xmlns:p14="http://schemas.microsoft.com/office/powerpoint/2010/main" val="2609227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9CBFDB7B-B9A0-BD81-3683-47E92D2E386E}"/>
              </a:ext>
            </a:extLst>
          </p:cNvPr>
          <p:cNvSpPr txBox="1">
            <a:spLocks/>
          </p:cNvSpPr>
          <p:nvPr/>
        </p:nvSpPr>
        <p:spPr>
          <a:xfrm>
            <a:off x="557295" y="153251"/>
            <a:ext cx="10608936"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rgbClr val="000000"/>
                </a:solidFill>
                <a:ea typeface="+mj-lt"/>
                <a:cs typeface="+mj-lt"/>
              </a:rPr>
              <a:t>Employee Attrition: </a:t>
            </a:r>
            <a:r>
              <a:rPr lang="pt-PT">
                <a:solidFill>
                  <a:srgbClr val="000000"/>
                </a:solidFill>
                <a:latin typeface="Neue Haas Grotesk Text Pro"/>
              </a:rPr>
              <a:t>Predicting Attrition</a:t>
            </a:r>
            <a:endParaRPr kumimoji="0" lang="pt-PT" sz="4000" b="1" i="0" u="none" strike="noStrike" kern="1200" cap="none" spc="0" normalizeH="0" baseline="0" noProof="0">
              <a:ln>
                <a:noFill/>
              </a:ln>
              <a:solidFill>
                <a:srgbClr val="000000"/>
              </a:solidFill>
              <a:effectLst/>
              <a:uLnTx/>
              <a:uFillTx/>
              <a:latin typeface="Neue Haas Grotesk Text Pro"/>
              <a:ea typeface="+mj-ea"/>
              <a:cs typeface="+mj-cs"/>
            </a:endParaRPr>
          </a:p>
        </p:txBody>
      </p:sp>
      <p:graphicFrame>
        <p:nvGraphicFramePr>
          <p:cNvPr id="11" name="Content Placeholder 1">
            <a:extLst>
              <a:ext uri="{FF2B5EF4-FFF2-40B4-BE49-F238E27FC236}">
                <a16:creationId xmlns:a16="http://schemas.microsoft.com/office/drawing/2014/main" id="{EEFA177F-947E-B232-21E8-BC34E4DF3FC6}"/>
              </a:ext>
            </a:extLst>
          </p:cNvPr>
          <p:cNvGraphicFramePr>
            <a:graphicFrameLocks/>
          </p:cNvGraphicFramePr>
          <p:nvPr>
            <p:extLst>
              <p:ext uri="{D42A27DB-BD31-4B8C-83A1-F6EECF244321}">
                <p14:modId xmlns:p14="http://schemas.microsoft.com/office/powerpoint/2010/main" val="4119346030"/>
              </p:ext>
            </p:extLst>
          </p:nvPr>
        </p:nvGraphicFramePr>
        <p:xfrm>
          <a:off x="5618175" y="3383279"/>
          <a:ext cx="5870515" cy="1397429"/>
        </p:xfrm>
        <a:graphic>
          <a:graphicData uri="http://schemas.openxmlformats.org/drawingml/2006/table">
            <a:tbl>
              <a:tblPr>
                <a:tableStyleId>{6E25E649-3F16-4E02-A733-19D2CDBF48F0}</a:tableStyleId>
              </a:tblPr>
              <a:tblGrid>
                <a:gridCol w="1303175">
                  <a:extLst>
                    <a:ext uri="{9D8B030D-6E8A-4147-A177-3AD203B41FA5}">
                      <a16:colId xmlns:a16="http://schemas.microsoft.com/office/drawing/2014/main" val="978672954"/>
                    </a:ext>
                  </a:extLst>
                </a:gridCol>
                <a:gridCol w="1149858">
                  <a:extLst>
                    <a:ext uri="{9D8B030D-6E8A-4147-A177-3AD203B41FA5}">
                      <a16:colId xmlns:a16="http://schemas.microsoft.com/office/drawing/2014/main" val="985761990"/>
                    </a:ext>
                  </a:extLst>
                </a:gridCol>
                <a:gridCol w="862242">
                  <a:extLst>
                    <a:ext uri="{9D8B030D-6E8A-4147-A177-3AD203B41FA5}">
                      <a16:colId xmlns:a16="http://schemas.microsoft.com/office/drawing/2014/main" val="2253564407"/>
                    </a:ext>
                  </a:extLst>
                </a:gridCol>
                <a:gridCol w="1315949">
                  <a:extLst>
                    <a:ext uri="{9D8B030D-6E8A-4147-A177-3AD203B41FA5}">
                      <a16:colId xmlns:a16="http://schemas.microsoft.com/office/drawing/2014/main" val="3026895400"/>
                    </a:ext>
                  </a:extLst>
                </a:gridCol>
                <a:gridCol w="1239291">
                  <a:extLst>
                    <a:ext uri="{9D8B030D-6E8A-4147-A177-3AD203B41FA5}">
                      <a16:colId xmlns:a16="http://schemas.microsoft.com/office/drawing/2014/main" val="3636978073"/>
                    </a:ext>
                  </a:extLst>
                </a:gridCol>
              </a:tblGrid>
              <a:tr h="531254">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algn="r" fontAlgn="ctr"/>
                      <a:endParaRPr lang="en-US" sz="1400" b="1">
                        <a:effectLst/>
                        <a:latin typeface="Tenorite" panose="00000500000000000000" pitchFamily="2" charset="0"/>
                      </a:endParaRP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algn="ctr" fontAlgn="ctr"/>
                      <a:r>
                        <a:rPr lang="en-US" sz="1400" b="1">
                          <a:solidFill>
                            <a:schemeClr val="accent1">
                              <a:lumMod val="75000"/>
                            </a:schemeClr>
                          </a:solidFill>
                          <a:effectLst/>
                          <a:latin typeface="Tenorite"/>
                        </a:rPr>
                        <a:t>Precision</a:t>
                      </a: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lvl="0" algn="ctr">
                        <a:buNone/>
                      </a:pPr>
                      <a:r>
                        <a:rPr lang="en-US" sz="1400" b="1">
                          <a:solidFill>
                            <a:schemeClr val="accent1">
                              <a:lumMod val="75000"/>
                            </a:schemeClr>
                          </a:solidFill>
                          <a:effectLst/>
                          <a:latin typeface="Tenorite"/>
                        </a:rPr>
                        <a:t>Recall</a:t>
                      </a: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lvl="0" algn="ctr">
                        <a:buNone/>
                      </a:pPr>
                      <a:r>
                        <a:rPr lang="en-US" sz="1400" b="1">
                          <a:solidFill>
                            <a:schemeClr val="accent1">
                              <a:lumMod val="75000"/>
                            </a:schemeClr>
                          </a:solidFill>
                          <a:effectLst/>
                          <a:latin typeface="Tenorite"/>
                        </a:rPr>
                        <a:t>F1-Score</a:t>
                      </a:r>
                    </a:p>
                  </a:txBody>
                  <a:tcPr marL="13988" marR="13988" marT="6994" marB="6994" anchor="ctr"/>
                </a:tc>
                <a:tc>
                  <a:txBody>
                    <a:bodyPr/>
                    <a:lstStyle/>
                    <a:p>
                      <a:pPr marL="0" lvl="0" algn="ctr" defTabSz="914400" rtl="0" eaLnBrk="1" latinLnBrk="0" hangingPunct="1">
                        <a:buNone/>
                      </a:pPr>
                      <a:r>
                        <a:rPr lang="en-US" sz="1400" b="1" kern="1200">
                          <a:solidFill>
                            <a:schemeClr val="dk1"/>
                          </a:solidFill>
                          <a:effectLst/>
                          <a:latin typeface="Tenorite"/>
                          <a:ea typeface="+mn-ea"/>
                          <a:cs typeface="+mn-cs"/>
                        </a:rPr>
                        <a:t>Count</a:t>
                      </a:r>
                    </a:p>
                  </a:txBody>
                  <a:tcPr marL="13987" marR="13987" marT="6994" marB="6994" anchor="ctr"/>
                </a:tc>
                <a:extLst>
                  <a:ext uri="{0D108BD9-81ED-4DB2-BD59-A6C34878D82A}">
                    <a16:rowId xmlns:a16="http://schemas.microsoft.com/office/drawing/2014/main" val="1504466492"/>
                  </a:ext>
                </a:extLst>
              </a:tr>
              <a:tr h="334921">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lvl="0" algn="r">
                        <a:buNone/>
                      </a:pPr>
                      <a:r>
                        <a:rPr lang="en-US" sz="1400" b="1">
                          <a:effectLst/>
                          <a:latin typeface="Tenorite"/>
                        </a:rPr>
                        <a:t>No Attrition</a:t>
                      </a:r>
                      <a:endParaRPr lang="en-US" sz="1400">
                        <a:latin typeface="Tenorite"/>
                      </a:endParaRP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lvl="0" algn="ctr">
                        <a:buNone/>
                      </a:pPr>
                      <a:r>
                        <a:rPr lang="en-US" sz="1400">
                          <a:effectLst/>
                          <a:latin typeface="Tenorite"/>
                        </a:rPr>
                        <a:t>0.95</a:t>
                      </a:r>
                      <a:endParaRPr lang="en-US" sz="1400">
                        <a:latin typeface="Tenorite" panose="00000500000000000000" pitchFamily="2" charset="0"/>
                      </a:endParaRP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lvl="0" algn="ctr">
                        <a:buNone/>
                      </a:pPr>
                      <a:r>
                        <a:rPr lang="en-US" sz="1400">
                          <a:effectLst/>
                          <a:latin typeface="Tenorite"/>
                        </a:rPr>
                        <a:t>0.83</a:t>
                      </a:r>
                      <a:endParaRPr lang="en-US" sz="1400">
                        <a:effectLst/>
                        <a:latin typeface="Tenorite" panose="00000500000000000000" pitchFamily="2" charset="0"/>
                      </a:endParaRP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algn="ctr"/>
                      <a:r>
                        <a:rPr lang="en-US" sz="1400">
                          <a:effectLst/>
                          <a:latin typeface="Tenorite"/>
                        </a:rPr>
                        <a:t>0.88</a:t>
                      </a:r>
                      <a:endParaRPr lang="en-US" sz="1400">
                        <a:effectLst/>
                        <a:latin typeface="Tenorite" panose="00000500000000000000" pitchFamily="2" charset="0"/>
                      </a:endParaRPr>
                    </a:p>
                  </a:txBody>
                  <a:tcPr marL="13988" marR="13988" marT="6994" marB="6994" anchor="ctr"/>
                </a:tc>
                <a:tc>
                  <a:txBody>
                    <a:bodyPr/>
                    <a:lstStyle/>
                    <a:p>
                      <a:pPr marL="0" lvl="0" algn="ctr" defTabSz="914400" rtl="0" eaLnBrk="1" latinLnBrk="0" hangingPunct="1">
                        <a:buNone/>
                      </a:pPr>
                      <a:r>
                        <a:rPr lang="en-US" sz="1400" kern="1200">
                          <a:solidFill>
                            <a:schemeClr val="dk1"/>
                          </a:solidFill>
                          <a:effectLst/>
                          <a:latin typeface="Tenorite"/>
                        </a:rPr>
                        <a:t>255</a:t>
                      </a:r>
                      <a:endParaRPr lang="en-US" sz="1400" kern="1200">
                        <a:solidFill>
                          <a:schemeClr val="dk1"/>
                        </a:solidFill>
                        <a:effectLst/>
                        <a:latin typeface="Tenorite"/>
                        <a:ea typeface="+mn-ea"/>
                        <a:cs typeface="+mn-cs"/>
                      </a:endParaRPr>
                    </a:p>
                  </a:txBody>
                  <a:tcPr marL="13987" marR="13987" marT="6994" marB="6994" anchor="ctr"/>
                </a:tc>
                <a:extLst>
                  <a:ext uri="{0D108BD9-81ED-4DB2-BD59-A6C34878D82A}">
                    <a16:rowId xmlns:a16="http://schemas.microsoft.com/office/drawing/2014/main" val="1167484381"/>
                  </a:ext>
                </a:extLst>
              </a:tr>
              <a:tr h="531254">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algn="r" fontAlgn="ctr"/>
                      <a:r>
                        <a:rPr lang="en-US" sz="1400" b="1">
                          <a:effectLst/>
                          <a:latin typeface="Tenorite"/>
                        </a:rPr>
                        <a:t>Attrition</a:t>
                      </a: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lvl="0" algn="ctr">
                        <a:buNone/>
                      </a:pPr>
                      <a:r>
                        <a:rPr lang="en-US" sz="1400">
                          <a:effectLst/>
                          <a:latin typeface="Tenorite"/>
                        </a:rPr>
                        <a:t>0.39</a:t>
                      </a:r>
                      <a:endParaRPr lang="en-US" sz="1400">
                        <a:effectLst/>
                        <a:latin typeface="Tenorite" panose="00000500000000000000" pitchFamily="2" charset="0"/>
                      </a:endParaRP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lvl="0" algn="ctr">
                        <a:buNone/>
                      </a:pPr>
                      <a:r>
                        <a:rPr lang="en-US" sz="1400">
                          <a:effectLst/>
                          <a:latin typeface="Tenorite"/>
                        </a:rPr>
                        <a:t>0.72</a:t>
                      </a:r>
                      <a:endParaRPr lang="en-US" sz="1400">
                        <a:effectLst/>
                        <a:latin typeface="Tenorite" panose="00000500000000000000" pitchFamily="2" charset="0"/>
                      </a:endParaRPr>
                    </a:p>
                  </a:txBody>
                  <a:tcPr marL="13988" marR="13988" marT="6994" marB="6994" anchor="ctr"/>
                </a:tc>
                <a:tc>
                  <a:txBody>
                    <a:bodyPr/>
                    <a:lstStyle>
                      <a:lvl1pPr marL="0" algn="l" defTabSz="914400" rtl="0" eaLnBrk="1" latinLnBrk="0" hangingPunct="1">
                        <a:defRPr sz="1800" kern="1200">
                          <a:solidFill>
                            <a:schemeClr val="dk1"/>
                          </a:solidFill>
                          <a:latin typeface="Tenorite"/>
                        </a:defRPr>
                      </a:lvl1pPr>
                      <a:lvl2pPr marL="457200" algn="l" defTabSz="914400" rtl="0" eaLnBrk="1" latinLnBrk="0" hangingPunct="1">
                        <a:defRPr sz="1800" kern="1200">
                          <a:solidFill>
                            <a:schemeClr val="dk1"/>
                          </a:solidFill>
                          <a:latin typeface="Tenorite"/>
                        </a:defRPr>
                      </a:lvl2pPr>
                      <a:lvl3pPr marL="914400" algn="l" defTabSz="914400" rtl="0" eaLnBrk="1" latinLnBrk="0" hangingPunct="1">
                        <a:defRPr sz="1800" kern="1200">
                          <a:solidFill>
                            <a:schemeClr val="dk1"/>
                          </a:solidFill>
                          <a:latin typeface="Tenorite"/>
                        </a:defRPr>
                      </a:lvl3pPr>
                      <a:lvl4pPr marL="1371600" algn="l" defTabSz="914400" rtl="0" eaLnBrk="1" latinLnBrk="0" hangingPunct="1">
                        <a:defRPr sz="1800" kern="1200">
                          <a:solidFill>
                            <a:schemeClr val="dk1"/>
                          </a:solidFill>
                          <a:latin typeface="Tenorite"/>
                        </a:defRPr>
                      </a:lvl4pPr>
                      <a:lvl5pPr marL="1828800" algn="l" defTabSz="914400" rtl="0" eaLnBrk="1" latinLnBrk="0" hangingPunct="1">
                        <a:defRPr sz="1800" kern="1200">
                          <a:solidFill>
                            <a:schemeClr val="dk1"/>
                          </a:solidFill>
                          <a:latin typeface="Tenorite"/>
                        </a:defRPr>
                      </a:lvl5pPr>
                      <a:lvl6pPr marL="2286000" algn="l" defTabSz="914400" rtl="0" eaLnBrk="1" latinLnBrk="0" hangingPunct="1">
                        <a:defRPr sz="1800" kern="1200">
                          <a:solidFill>
                            <a:schemeClr val="dk1"/>
                          </a:solidFill>
                          <a:latin typeface="Tenorite"/>
                        </a:defRPr>
                      </a:lvl6pPr>
                      <a:lvl7pPr marL="2743200" algn="l" defTabSz="914400" rtl="0" eaLnBrk="1" latinLnBrk="0" hangingPunct="1">
                        <a:defRPr sz="1800" kern="1200">
                          <a:solidFill>
                            <a:schemeClr val="dk1"/>
                          </a:solidFill>
                          <a:latin typeface="Tenorite"/>
                        </a:defRPr>
                      </a:lvl7pPr>
                      <a:lvl8pPr marL="3200400" algn="l" defTabSz="914400" rtl="0" eaLnBrk="1" latinLnBrk="0" hangingPunct="1">
                        <a:defRPr sz="1800" kern="1200">
                          <a:solidFill>
                            <a:schemeClr val="dk1"/>
                          </a:solidFill>
                          <a:latin typeface="Tenorite"/>
                        </a:defRPr>
                      </a:lvl8pPr>
                      <a:lvl9pPr marL="3657600" algn="l" defTabSz="914400" rtl="0" eaLnBrk="1" latinLnBrk="0" hangingPunct="1">
                        <a:defRPr sz="1800" kern="1200">
                          <a:solidFill>
                            <a:schemeClr val="dk1"/>
                          </a:solidFill>
                          <a:latin typeface="Tenorite"/>
                        </a:defRPr>
                      </a:lvl9pPr>
                    </a:lstStyle>
                    <a:p>
                      <a:pPr lvl="0" algn="ctr">
                        <a:buNone/>
                      </a:pPr>
                      <a:r>
                        <a:rPr lang="en-US" sz="1400">
                          <a:effectLst/>
                          <a:latin typeface="Tenorite"/>
                        </a:rPr>
                        <a:t>0.50</a:t>
                      </a:r>
                      <a:endParaRPr lang="en-US" sz="1400">
                        <a:effectLst/>
                        <a:latin typeface="Tenorite" panose="00000500000000000000" pitchFamily="2" charset="0"/>
                      </a:endParaRPr>
                    </a:p>
                  </a:txBody>
                  <a:tcPr marL="13988" marR="13988" marT="6994" marB="6994" anchor="ctr"/>
                </a:tc>
                <a:tc>
                  <a:txBody>
                    <a:bodyPr/>
                    <a:lstStyle/>
                    <a:p>
                      <a:pPr marL="0" lvl="0" algn="ctr" defTabSz="914400" rtl="0" eaLnBrk="1" latinLnBrk="0" hangingPunct="1">
                        <a:buNone/>
                      </a:pPr>
                      <a:r>
                        <a:rPr lang="en-US" sz="1400" kern="1200">
                          <a:solidFill>
                            <a:schemeClr val="dk1"/>
                          </a:solidFill>
                          <a:effectLst/>
                          <a:latin typeface="Tenorite"/>
                        </a:rPr>
                        <a:t>39</a:t>
                      </a:r>
                      <a:endParaRPr lang="en-US" sz="1400" kern="1200">
                        <a:solidFill>
                          <a:schemeClr val="dk1"/>
                        </a:solidFill>
                        <a:effectLst/>
                        <a:latin typeface="Tenorite"/>
                        <a:ea typeface="+mn-ea"/>
                        <a:cs typeface="+mn-cs"/>
                      </a:endParaRPr>
                    </a:p>
                  </a:txBody>
                  <a:tcPr marL="13987" marR="13987" marT="6994" marB="6994" anchor="ctr"/>
                </a:tc>
                <a:extLst>
                  <a:ext uri="{0D108BD9-81ED-4DB2-BD59-A6C34878D82A}">
                    <a16:rowId xmlns:a16="http://schemas.microsoft.com/office/drawing/2014/main" val="98659411"/>
                  </a:ext>
                </a:extLst>
              </a:tr>
            </a:tbl>
          </a:graphicData>
        </a:graphic>
      </p:graphicFrame>
      <p:sp>
        <p:nvSpPr>
          <p:cNvPr id="5" name="Text Placeholder 2">
            <a:extLst>
              <a:ext uri="{FF2B5EF4-FFF2-40B4-BE49-F238E27FC236}">
                <a16:creationId xmlns:a16="http://schemas.microsoft.com/office/drawing/2014/main" id="{CBD3180A-8EEC-0027-1BFE-09D90202C372}"/>
              </a:ext>
            </a:extLst>
          </p:cNvPr>
          <p:cNvSpPr txBox="1">
            <a:spLocks/>
          </p:cNvSpPr>
          <p:nvPr/>
        </p:nvSpPr>
        <p:spPr>
          <a:xfrm>
            <a:off x="561743" y="834672"/>
            <a:ext cx="10112866" cy="52106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a:rPr>
              <a:t>Four supervised models* were tested. After hyperparameter</a:t>
            </a:r>
            <a:r>
              <a:rPr lang="en-US" sz="1800" b="1">
                <a:solidFill>
                  <a:schemeClr val="accent1"/>
                </a:solidFill>
                <a:latin typeface="Tenorite"/>
              </a:rPr>
              <a:t> </a:t>
            </a:r>
            <a:r>
              <a:rPr lang="en-US" sz="1800" b="1">
                <a:solidFill>
                  <a:schemeClr val="accent1">
                    <a:lumMod val="75000"/>
                  </a:schemeClr>
                </a:solidFill>
                <a:latin typeface="Tenorite"/>
              </a:rPr>
              <a:t>tuning, Logistic Regression had the best performance.</a:t>
            </a:r>
          </a:p>
          <a:p>
            <a:pPr marL="0" indent="0">
              <a:buNone/>
            </a:pPr>
            <a:endParaRPr lang="en-US" sz="1800" b="1">
              <a:solidFill>
                <a:schemeClr val="accent1">
                  <a:lumMod val="75000"/>
                </a:schemeClr>
              </a:solidFill>
              <a:latin typeface="Tenorite"/>
            </a:endParaRPr>
          </a:p>
          <a:p>
            <a:pPr marL="0" indent="0">
              <a:buNone/>
            </a:pPr>
            <a:endParaRPr lang="en-US" sz="1800" b="1">
              <a:solidFill>
                <a:schemeClr val="accent1">
                  <a:lumMod val="75000"/>
                </a:schemeClr>
              </a:solidFill>
              <a:latin typeface="Tenorite"/>
            </a:endParaRPr>
          </a:p>
        </p:txBody>
      </p:sp>
      <p:sp>
        <p:nvSpPr>
          <p:cNvPr id="3" name="Text Placeholder 2">
            <a:extLst>
              <a:ext uri="{FF2B5EF4-FFF2-40B4-BE49-F238E27FC236}">
                <a16:creationId xmlns:a16="http://schemas.microsoft.com/office/drawing/2014/main" id="{75065607-11FF-27D8-42A1-AA3E7BE1BAF1}"/>
              </a:ext>
            </a:extLst>
          </p:cNvPr>
          <p:cNvSpPr txBox="1">
            <a:spLocks/>
          </p:cNvSpPr>
          <p:nvPr/>
        </p:nvSpPr>
        <p:spPr>
          <a:xfrm>
            <a:off x="5641539" y="3109784"/>
            <a:ext cx="952007" cy="34929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b="1">
              <a:solidFill>
                <a:schemeClr val="accent1">
                  <a:lumMod val="75000"/>
                </a:schemeClr>
              </a:solidFill>
              <a:latin typeface="Tenorite"/>
            </a:endParaRPr>
          </a:p>
          <a:p>
            <a:pPr marL="0" indent="0">
              <a:buFont typeface="Arial" panose="020B0604020202020204" pitchFamily="34" charset="0"/>
              <a:buNone/>
            </a:pPr>
            <a:r>
              <a:rPr lang="en-US" sz="1800" b="1">
                <a:solidFill>
                  <a:schemeClr val="accent1">
                    <a:lumMod val="75000"/>
                  </a:schemeClr>
                </a:solidFill>
                <a:latin typeface="Tenorite"/>
              </a:rPr>
              <a:t>Results</a:t>
            </a:r>
          </a:p>
        </p:txBody>
      </p:sp>
      <p:sp>
        <p:nvSpPr>
          <p:cNvPr id="14" name="Text Placeholder 2">
            <a:extLst>
              <a:ext uri="{FF2B5EF4-FFF2-40B4-BE49-F238E27FC236}">
                <a16:creationId xmlns:a16="http://schemas.microsoft.com/office/drawing/2014/main" id="{7084496D-5F9A-D4B2-3E99-347FA2B50A7A}"/>
              </a:ext>
            </a:extLst>
          </p:cNvPr>
          <p:cNvSpPr txBox="1">
            <a:spLocks/>
          </p:cNvSpPr>
          <p:nvPr/>
        </p:nvSpPr>
        <p:spPr>
          <a:xfrm>
            <a:off x="5563584" y="2186145"/>
            <a:ext cx="5870515" cy="928384"/>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a:solidFill>
                  <a:prstClr val="black">
                    <a:lumMod val="75000"/>
                    <a:lumOff val="25000"/>
                  </a:prstClr>
                </a:solidFill>
                <a:latin typeface="Tenorite"/>
              </a:rPr>
              <a:t>Of the 39 cases of Attrition in the Test set, the final model </a:t>
            </a:r>
            <a:r>
              <a:rPr lang="en-US" sz="1800">
                <a:solidFill>
                  <a:schemeClr val="accent1">
                    <a:lumMod val="75000"/>
                  </a:schemeClr>
                </a:solidFill>
                <a:latin typeface="Tenorite"/>
              </a:rPr>
              <a:t>can predict 28 attrition cases (72%)</a:t>
            </a:r>
            <a:r>
              <a:rPr lang="en-US" sz="1800">
                <a:solidFill>
                  <a:prstClr val="black">
                    <a:lumMod val="75000"/>
                    <a:lumOff val="25000"/>
                  </a:prstClr>
                </a:solidFill>
                <a:latin typeface="Tenorite"/>
              </a:rPr>
              <a:t>,</a:t>
            </a:r>
            <a:r>
              <a:rPr lang="en-US" sz="1800">
                <a:solidFill>
                  <a:schemeClr val="accent1">
                    <a:lumMod val="75000"/>
                  </a:schemeClr>
                </a:solidFill>
                <a:latin typeface="Tenorite"/>
              </a:rPr>
              <a:t> </a:t>
            </a:r>
            <a:r>
              <a:rPr lang="en-US" sz="1800">
                <a:solidFill>
                  <a:prstClr val="black">
                    <a:lumMod val="75000"/>
                    <a:lumOff val="25000"/>
                  </a:prstClr>
                </a:solidFill>
                <a:latin typeface="Tenorite"/>
              </a:rPr>
              <a:t>with 44 cases of false positives.</a:t>
            </a:r>
            <a:endParaRPr lang="en-US">
              <a:solidFill>
                <a:prstClr val="black">
                  <a:lumMod val="75000"/>
                  <a:lumOff val="25000"/>
                </a:prstClr>
              </a:solidFill>
            </a:endParaRPr>
          </a:p>
        </p:txBody>
      </p:sp>
      <p:sp>
        <p:nvSpPr>
          <p:cNvPr id="8" name="Subtitle 14">
            <a:extLst>
              <a:ext uri="{FF2B5EF4-FFF2-40B4-BE49-F238E27FC236}">
                <a16:creationId xmlns:a16="http://schemas.microsoft.com/office/drawing/2014/main" id="{AA1CD7A6-15D1-06BD-EB41-1927DECA0B59}"/>
              </a:ext>
            </a:extLst>
          </p:cNvPr>
          <p:cNvSpPr txBox="1">
            <a:spLocks/>
          </p:cNvSpPr>
          <p:nvPr/>
        </p:nvSpPr>
        <p:spPr>
          <a:xfrm>
            <a:off x="491117" y="6082881"/>
            <a:ext cx="4982313" cy="201188"/>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defRPr/>
            </a:pPr>
            <a:r>
              <a:rPr lang="en-US" sz="1000" b="1">
                <a:solidFill>
                  <a:srgbClr val="3B9EB1"/>
                </a:solidFill>
                <a:latin typeface="Tenorite"/>
              </a:rPr>
              <a:t>*</a:t>
            </a:r>
            <a:r>
              <a:rPr lang="en-US" sz="900">
                <a:solidFill>
                  <a:srgbClr val="000000"/>
                </a:solidFill>
                <a:latin typeface="Tenorite"/>
              </a:rPr>
              <a:t>Supervised models used: Logistic Regression, Support Vector Machine, </a:t>
            </a:r>
            <a:r>
              <a:rPr lang="en-US" sz="900" err="1">
                <a:solidFill>
                  <a:srgbClr val="000000"/>
                </a:solidFill>
                <a:latin typeface="Tenorite"/>
              </a:rPr>
              <a:t>XGBoost</a:t>
            </a:r>
            <a:r>
              <a:rPr lang="en-US" sz="900">
                <a:solidFill>
                  <a:srgbClr val="000000"/>
                </a:solidFill>
                <a:latin typeface="Tenorite"/>
              </a:rPr>
              <a:t>, Random Forest</a:t>
            </a:r>
            <a:endParaRPr lang="en-US" sz="900">
              <a:ea typeface="+mn-ea"/>
              <a:cs typeface="+mn-cs"/>
            </a:endParaRPr>
          </a:p>
        </p:txBody>
      </p:sp>
      <p:sp>
        <p:nvSpPr>
          <p:cNvPr id="15" name="Text Placeholder 2">
            <a:extLst>
              <a:ext uri="{FF2B5EF4-FFF2-40B4-BE49-F238E27FC236}">
                <a16:creationId xmlns:a16="http://schemas.microsoft.com/office/drawing/2014/main" id="{EA6DF3AE-82CB-7A75-C6FA-E552D9CA2225}"/>
              </a:ext>
            </a:extLst>
          </p:cNvPr>
          <p:cNvSpPr txBox="1">
            <a:spLocks/>
          </p:cNvSpPr>
          <p:nvPr/>
        </p:nvSpPr>
        <p:spPr>
          <a:xfrm>
            <a:off x="704554" y="5431962"/>
            <a:ext cx="5412988" cy="314473"/>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800">
                <a:solidFill>
                  <a:prstClr val="black">
                    <a:lumMod val="75000"/>
                    <a:lumOff val="25000"/>
                  </a:prstClr>
                </a:solidFill>
                <a:latin typeface="Tenorite"/>
              </a:rPr>
              <a:t>Test set: 294 cases.</a:t>
            </a:r>
            <a:endParaRPr lang="en-US">
              <a:solidFill>
                <a:prstClr val="black">
                  <a:lumMod val="75000"/>
                  <a:lumOff val="25000"/>
                </a:prstClr>
              </a:solidFill>
            </a:endParaRPr>
          </a:p>
        </p:txBody>
      </p:sp>
      <p:pic>
        <p:nvPicPr>
          <p:cNvPr id="2" name="Picture 1" descr="A screenshot of a computer&#10;&#10;Description automatically generated">
            <a:extLst>
              <a:ext uri="{FF2B5EF4-FFF2-40B4-BE49-F238E27FC236}">
                <a16:creationId xmlns:a16="http://schemas.microsoft.com/office/drawing/2014/main" id="{246E40BE-1DA6-78B1-7C76-2254B6614D93}"/>
              </a:ext>
            </a:extLst>
          </p:cNvPr>
          <p:cNvPicPr>
            <a:picLocks noChangeAspect="1"/>
          </p:cNvPicPr>
          <p:nvPr/>
        </p:nvPicPr>
        <p:blipFill>
          <a:blip r:embed="rId2"/>
          <a:stretch>
            <a:fillRect/>
          </a:stretch>
        </p:blipFill>
        <p:spPr>
          <a:xfrm>
            <a:off x="668440" y="1587844"/>
            <a:ext cx="4566851" cy="3682312"/>
          </a:xfrm>
          <a:prstGeom prst="rect">
            <a:avLst/>
          </a:prstGeom>
          <a:ln>
            <a:solidFill>
              <a:schemeClr val="bg1">
                <a:lumMod val="95000"/>
              </a:schemeClr>
            </a:solidFill>
          </a:ln>
        </p:spPr>
      </p:pic>
      <p:sp>
        <p:nvSpPr>
          <p:cNvPr id="6" name="Slide Number Placeholder 5">
            <a:extLst>
              <a:ext uri="{FF2B5EF4-FFF2-40B4-BE49-F238E27FC236}">
                <a16:creationId xmlns:a16="http://schemas.microsoft.com/office/drawing/2014/main" id="{7AC2331C-8EF2-D694-0330-9C63E482290C}"/>
              </a:ext>
            </a:extLst>
          </p:cNvPr>
          <p:cNvSpPr>
            <a:spLocks noGrp="1"/>
          </p:cNvSpPr>
          <p:nvPr>
            <p:ph type="sldNum" sz="quarter" idx="12"/>
          </p:nvPr>
        </p:nvSpPr>
        <p:spPr/>
        <p:txBody>
          <a:bodyPr/>
          <a:lstStyle/>
          <a:p>
            <a:fld id="{49ABCAEC-7D34-E549-A96E-FCEDAADBE4B0}" type="slidenum">
              <a:rPr lang="en-US" smtClean="0"/>
              <a:t>15</a:t>
            </a:fld>
            <a:endParaRPr lang="en-US"/>
          </a:p>
        </p:txBody>
      </p:sp>
    </p:spTree>
    <p:extLst>
      <p:ext uri="{BB962C8B-B14F-4D97-AF65-F5344CB8AC3E}">
        <p14:creationId xmlns:p14="http://schemas.microsoft.com/office/powerpoint/2010/main" val="42225929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BD1AE285-51F0-4833-1619-6D85C71DA749}"/>
              </a:ext>
            </a:extLst>
          </p:cNvPr>
          <p:cNvSpPr txBox="1">
            <a:spLocks/>
          </p:cNvSpPr>
          <p:nvPr/>
        </p:nvSpPr>
        <p:spPr>
          <a:xfrm>
            <a:off x="557295" y="153251"/>
            <a:ext cx="10608936"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t-PT">
                <a:solidFill>
                  <a:srgbClr val="000000"/>
                </a:solidFill>
                <a:ea typeface="+mj-lt"/>
                <a:cs typeface="+mj-lt"/>
              </a:rPr>
              <a:t>Implementing the Predictive Model</a:t>
            </a:r>
            <a:endParaRPr kumimoji="0" lang="pt-PT" sz="4000" b="1" i="0" u="none" strike="noStrike" kern="1200" cap="none" spc="0" normalizeH="0" baseline="0" noProof="0">
              <a:ln>
                <a:noFill/>
              </a:ln>
              <a:solidFill>
                <a:srgbClr val="000000"/>
              </a:solidFill>
              <a:effectLst/>
              <a:uLnTx/>
              <a:uFillTx/>
              <a:latin typeface="Neue Haas Grotesk Text Pro"/>
              <a:ea typeface="+mj-ea"/>
              <a:cs typeface="+mj-cs"/>
            </a:endParaRPr>
          </a:p>
        </p:txBody>
      </p:sp>
      <p:sp>
        <p:nvSpPr>
          <p:cNvPr id="6" name="Text Placeholder 2">
            <a:extLst>
              <a:ext uri="{FF2B5EF4-FFF2-40B4-BE49-F238E27FC236}">
                <a16:creationId xmlns:a16="http://schemas.microsoft.com/office/drawing/2014/main" id="{C58F3C76-F342-97A7-BE42-5E8976841751}"/>
              </a:ext>
            </a:extLst>
          </p:cNvPr>
          <p:cNvSpPr txBox="1">
            <a:spLocks/>
          </p:cNvSpPr>
          <p:nvPr/>
        </p:nvSpPr>
        <p:spPr>
          <a:xfrm>
            <a:off x="561743" y="834672"/>
            <a:ext cx="9829166" cy="82503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a:rPr>
              <a:t>Our model can be implemented in an HR Analytics platform that, along with other inputs, can help to track attrition and act before the employee leaves. It can also be used to design better HR practices within the company.</a:t>
            </a:r>
          </a:p>
          <a:p>
            <a:pPr marL="0" indent="0">
              <a:buNone/>
            </a:pPr>
            <a:endParaRPr lang="en-US" sz="1800" b="1">
              <a:solidFill>
                <a:schemeClr val="accent1">
                  <a:lumMod val="75000"/>
                </a:schemeClr>
              </a:solidFill>
              <a:latin typeface="Tenorite"/>
            </a:endParaRPr>
          </a:p>
          <a:p>
            <a:pPr marL="0" indent="0">
              <a:buNone/>
            </a:pPr>
            <a:endParaRPr lang="en-US" sz="1800" b="1">
              <a:solidFill>
                <a:schemeClr val="accent1">
                  <a:lumMod val="75000"/>
                </a:schemeClr>
              </a:solidFill>
              <a:latin typeface="Tenorite"/>
            </a:endParaRPr>
          </a:p>
          <a:p>
            <a:pPr marL="0" indent="0">
              <a:buNone/>
            </a:pPr>
            <a:endParaRPr lang="en-US" sz="1800" b="1">
              <a:solidFill>
                <a:schemeClr val="accent1">
                  <a:lumMod val="75000"/>
                </a:schemeClr>
              </a:solidFill>
              <a:latin typeface="Tenorite"/>
            </a:endParaRPr>
          </a:p>
        </p:txBody>
      </p:sp>
      <p:sp>
        <p:nvSpPr>
          <p:cNvPr id="3" name="Cylinder 2">
            <a:extLst>
              <a:ext uri="{FF2B5EF4-FFF2-40B4-BE49-F238E27FC236}">
                <a16:creationId xmlns:a16="http://schemas.microsoft.com/office/drawing/2014/main" id="{9224C284-5C92-1823-AE50-E325A8799A62}"/>
              </a:ext>
            </a:extLst>
          </p:cNvPr>
          <p:cNvSpPr/>
          <p:nvPr/>
        </p:nvSpPr>
        <p:spPr>
          <a:xfrm>
            <a:off x="2410317" y="4321447"/>
            <a:ext cx="1338647" cy="792891"/>
          </a:xfrm>
          <a:prstGeom prst="ca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0F5A50BD-9981-1978-EB09-86147DE57430}"/>
              </a:ext>
            </a:extLst>
          </p:cNvPr>
          <p:cNvSpPr txBox="1"/>
          <p:nvPr/>
        </p:nvSpPr>
        <p:spPr>
          <a:xfrm>
            <a:off x="2410317" y="5097298"/>
            <a:ext cx="1338647"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latin typeface="Tenorite"/>
              </a:rPr>
              <a:t>HR Dataset</a:t>
            </a:r>
          </a:p>
        </p:txBody>
      </p:sp>
      <p:sp>
        <p:nvSpPr>
          <p:cNvPr id="11" name="TextBox 10">
            <a:extLst>
              <a:ext uri="{FF2B5EF4-FFF2-40B4-BE49-F238E27FC236}">
                <a16:creationId xmlns:a16="http://schemas.microsoft.com/office/drawing/2014/main" id="{3E0945C2-719F-DF29-966E-5F063E92BA68}"/>
              </a:ext>
            </a:extLst>
          </p:cNvPr>
          <p:cNvSpPr txBox="1"/>
          <p:nvPr/>
        </p:nvSpPr>
        <p:spPr>
          <a:xfrm>
            <a:off x="3882830" y="3343203"/>
            <a:ext cx="1338647" cy="338554"/>
          </a:xfrm>
          <a:prstGeom prst="rect">
            <a:avLst/>
          </a:prstGeom>
          <a:solidFill>
            <a:srgbClr val="3B9EB1"/>
          </a:solidFill>
          <a:ln>
            <a:solidFill>
              <a:srgbClr val="3B9EB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rgbClr val="FFFFFF"/>
                </a:solidFill>
                <a:latin typeface="Tenorite"/>
              </a:rPr>
              <a:t>Our Model</a:t>
            </a:r>
          </a:p>
        </p:txBody>
      </p:sp>
      <p:sp>
        <p:nvSpPr>
          <p:cNvPr id="17" name="TextBox 16">
            <a:extLst>
              <a:ext uri="{FF2B5EF4-FFF2-40B4-BE49-F238E27FC236}">
                <a16:creationId xmlns:a16="http://schemas.microsoft.com/office/drawing/2014/main" id="{5AF86F4A-67C2-703B-097E-571604218485}"/>
              </a:ext>
            </a:extLst>
          </p:cNvPr>
          <p:cNvSpPr txBox="1"/>
          <p:nvPr/>
        </p:nvSpPr>
        <p:spPr>
          <a:xfrm>
            <a:off x="5726047" y="5097298"/>
            <a:ext cx="133864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latin typeface="Tenorite"/>
              </a:rPr>
              <a:t>HR Analytics Platform</a:t>
            </a:r>
            <a:endParaRPr lang="en-US" err="1"/>
          </a:p>
        </p:txBody>
      </p:sp>
      <p:sp>
        <p:nvSpPr>
          <p:cNvPr id="18" name="Cylinder 17">
            <a:extLst>
              <a:ext uri="{FF2B5EF4-FFF2-40B4-BE49-F238E27FC236}">
                <a16:creationId xmlns:a16="http://schemas.microsoft.com/office/drawing/2014/main" id="{4A9A31C5-FC0A-AD0E-A31F-E3F6992CE34B}"/>
              </a:ext>
            </a:extLst>
          </p:cNvPr>
          <p:cNvSpPr/>
          <p:nvPr/>
        </p:nvSpPr>
        <p:spPr>
          <a:xfrm>
            <a:off x="8969695" y="4321447"/>
            <a:ext cx="1338647" cy="792891"/>
          </a:xfrm>
          <a:prstGeom prst="ca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F69AD6C-20A5-F6D0-DB56-E3EDB6889859}"/>
              </a:ext>
            </a:extLst>
          </p:cNvPr>
          <p:cNvSpPr txBox="1"/>
          <p:nvPr/>
        </p:nvSpPr>
        <p:spPr>
          <a:xfrm>
            <a:off x="8969695" y="5097298"/>
            <a:ext cx="1338647"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latin typeface="Tenorite"/>
              </a:rPr>
              <a:t>HR Practices</a:t>
            </a:r>
          </a:p>
        </p:txBody>
      </p:sp>
      <p:sp>
        <p:nvSpPr>
          <p:cNvPr id="20" name="TextBox 19">
            <a:extLst>
              <a:ext uri="{FF2B5EF4-FFF2-40B4-BE49-F238E27FC236}">
                <a16:creationId xmlns:a16="http://schemas.microsoft.com/office/drawing/2014/main" id="{EF938F11-A80A-C13C-BA7F-6AD6FF0CBBB2}"/>
              </a:ext>
            </a:extLst>
          </p:cNvPr>
          <p:cNvSpPr txBox="1"/>
          <p:nvPr/>
        </p:nvSpPr>
        <p:spPr>
          <a:xfrm>
            <a:off x="1164343" y="3343203"/>
            <a:ext cx="1338647" cy="338554"/>
          </a:xfrm>
          <a:prstGeom prst="rect">
            <a:avLst/>
          </a:prstGeom>
          <a:noFill/>
          <a:ln>
            <a:solidFill>
              <a:srgbClr val="3B9EB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latin typeface="Tenorite"/>
              </a:rPr>
              <a:t>Raw Data</a:t>
            </a:r>
          </a:p>
        </p:txBody>
      </p:sp>
      <p:sp>
        <p:nvSpPr>
          <p:cNvPr id="21" name="TextBox 20">
            <a:extLst>
              <a:ext uri="{FF2B5EF4-FFF2-40B4-BE49-F238E27FC236}">
                <a16:creationId xmlns:a16="http://schemas.microsoft.com/office/drawing/2014/main" id="{D9CD9084-F537-C959-6A6C-4E4256D87D66}"/>
              </a:ext>
            </a:extLst>
          </p:cNvPr>
          <p:cNvSpPr txBox="1"/>
          <p:nvPr/>
        </p:nvSpPr>
        <p:spPr>
          <a:xfrm>
            <a:off x="7353019" y="3145497"/>
            <a:ext cx="1338647" cy="338554"/>
          </a:xfrm>
          <a:prstGeom prst="rect">
            <a:avLst/>
          </a:prstGeom>
          <a:noFill/>
          <a:ln>
            <a:solidFill>
              <a:srgbClr val="3B9EB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latin typeface="Tenorite"/>
              </a:rPr>
              <a:t>HR Analysis</a:t>
            </a:r>
          </a:p>
        </p:txBody>
      </p:sp>
      <p:pic>
        <p:nvPicPr>
          <p:cNvPr id="22" name="Picture 21">
            <a:extLst>
              <a:ext uri="{FF2B5EF4-FFF2-40B4-BE49-F238E27FC236}">
                <a16:creationId xmlns:a16="http://schemas.microsoft.com/office/drawing/2014/main" id="{FFB41083-A710-674E-B64A-5DBBEB5909CB}"/>
              </a:ext>
            </a:extLst>
          </p:cNvPr>
          <p:cNvPicPr>
            <a:picLocks noChangeAspect="1"/>
          </p:cNvPicPr>
          <p:nvPr/>
        </p:nvPicPr>
        <p:blipFill>
          <a:blip r:embed="rId2"/>
          <a:stretch>
            <a:fillRect/>
          </a:stretch>
        </p:blipFill>
        <p:spPr>
          <a:xfrm>
            <a:off x="1516512" y="2500886"/>
            <a:ext cx="634314" cy="644611"/>
          </a:xfrm>
          <a:prstGeom prst="rect">
            <a:avLst/>
          </a:prstGeom>
        </p:spPr>
      </p:pic>
      <p:pic>
        <p:nvPicPr>
          <p:cNvPr id="23" name="Picture 22">
            <a:extLst>
              <a:ext uri="{FF2B5EF4-FFF2-40B4-BE49-F238E27FC236}">
                <a16:creationId xmlns:a16="http://schemas.microsoft.com/office/drawing/2014/main" id="{0083DBAD-8D93-0CF3-7BDD-CB2A4212A5D7}"/>
              </a:ext>
            </a:extLst>
          </p:cNvPr>
          <p:cNvPicPr>
            <a:picLocks noChangeAspect="1"/>
          </p:cNvPicPr>
          <p:nvPr/>
        </p:nvPicPr>
        <p:blipFill>
          <a:blip r:embed="rId3"/>
          <a:stretch>
            <a:fillRect/>
          </a:stretch>
        </p:blipFill>
        <p:spPr>
          <a:xfrm>
            <a:off x="4151587" y="2400061"/>
            <a:ext cx="881450" cy="881450"/>
          </a:xfrm>
          <a:prstGeom prst="rect">
            <a:avLst/>
          </a:prstGeom>
        </p:spPr>
      </p:pic>
      <p:pic>
        <p:nvPicPr>
          <p:cNvPr id="24" name="Picture 23">
            <a:extLst>
              <a:ext uri="{FF2B5EF4-FFF2-40B4-BE49-F238E27FC236}">
                <a16:creationId xmlns:a16="http://schemas.microsoft.com/office/drawing/2014/main" id="{1703349C-D33B-D123-E2AA-A8ED6BFC3ECE}"/>
              </a:ext>
            </a:extLst>
          </p:cNvPr>
          <p:cNvPicPr>
            <a:picLocks noChangeAspect="1"/>
          </p:cNvPicPr>
          <p:nvPr/>
        </p:nvPicPr>
        <p:blipFill>
          <a:blip r:embed="rId4"/>
          <a:stretch>
            <a:fillRect/>
          </a:stretch>
        </p:blipFill>
        <p:spPr>
          <a:xfrm>
            <a:off x="7640408" y="2408210"/>
            <a:ext cx="716693" cy="737287"/>
          </a:xfrm>
          <a:prstGeom prst="rect">
            <a:avLst/>
          </a:prstGeom>
        </p:spPr>
      </p:pic>
      <p:sp>
        <p:nvSpPr>
          <p:cNvPr id="25" name="TextBox 24">
            <a:extLst>
              <a:ext uri="{FF2B5EF4-FFF2-40B4-BE49-F238E27FC236}">
                <a16:creationId xmlns:a16="http://schemas.microsoft.com/office/drawing/2014/main" id="{224F1DDA-F13B-52D7-A4F4-7444F4B6E846}"/>
              </a:ext>
            </a:extLst>
          </p:cNvPr>
          <p:cNvSpPr txBox="1"/>
          <p:nvPr/>
        </p:nvSpPr>
        <p:spPr>
          <a:xfrm>
            <a:off x="5726048" y="2028246"/>
            <a:ext cx="1626971" cy="338554"/>
          </a:xfrm>
          <a:prstGeom prst="rect">
            <a:avLst/>
          </a:prstGeom>
          <a:noFill/>
          <a:ln>
            <a:solidFill>
              <a:srgbClr val="3B9EB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latin typeface="Tenorite"/>
              </a:rPr>
              <a:t>Other Signals</a:t>
            </a:r>
          </a:p>
        </p:txBody>
      </p:sp>
      <p:cxnSp>
        <p:nvCxnSpPr>
          <p:cNvPr id="7" name="Connector: Elbow 6">
            <a:extLst>
              <a:ext uri="{FF2B5EF4-FFF2-40B4-BE49-F238E27FC236}">
                <a16:creationId xmlns:a16="http://schemas.microsoft.com/office/drawing/2014/main" id="{626D04CF-914B-9D82-0DB7-F1FAEDB3682F}"/>
              </a:ext>
            </a:extLst>
          </p:cNvPr>
          <p:cNvCxnSpPr>
            <a:cxnSpLocks/>
            <a:stCxn id="20" idx="3"/>
            <a:endCxn id="3" idx="1"/>
          </p:cNvCxnSpPr>
          <p:nvPr/>
        </p:nvCxnSpPr>
        <p:spPr>
          <a:xfrm>
            <a:off x="2502990" y="3512480"/>
            <a:ext cx="576651" cy="808967"/>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EC2B7309-3302-C35B-E3EB-88ECBDFD0360}"/>
              </a:ext>
            </a:extLst>
          </p:cNvPr>
          <p:cNvCxnSpPr>
            <a:cxnSpLocks/>
          </p:cNvCxnSpPr>
          <p:nvPr/>
        </p:nvCxnSpPr>
        <p:spPr>
          <a:xfrm rot="5400000" flipH="1" flipV="1">
            <a:off x="3189741" y="3592413"/>
            <a:ext cx="773021" cy="613156"/>
          </a:xfrm>
          <a:prstGeom prst="bentConnector3">
            <a:avLst>
              <a:gd name="adj1" fmla="val 99586"/>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452BF7A3-3CB3-18CF-A050-00772F22E4F3}"/>
              </a:ext>
            </a:extLst>
          </p:cNvPr>
          <p:cNvCxnSpPr>
            <a:cxnSpLocks/>
            <a:stCxn id="11" idx="3"/>
            <a:endCxn id="56" idx="1"/>
          </p:cNvCxnSpPr>
          <p:nvPr/>
        </p:nvCxnSpPr>
        <p:spPr>
          <a:xfrm>
            <a:off x="5221477" y="3512480"/>
            <a:ext cx="1173894" cy="808967"/>
          </a:xfrm>
          <a:prstGeom prst="bentConnector3">
            <a:avLst>
              <a:gd name="adj1" fmla="val 132208"/>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F7D73085-C851-A7EA-9497-12741A22448E}"/>
              </a:ext>
            </a:extLst>
          </p:cNvPr>
          <p:cNvCxnSpPr>
            <a:cxnSpLocks/>
            <a:stCxn id="21" idx="3"/>
            <a:endCxn id="18" idx="1"/>
          </p:cNvCxnSpPr>
          <p:nvPr/>
        </p:nvCxnSpPr>
        <p:spPr>
          <a:xfrm>
            <a:off x="8691666" y="3314774"/>
            <a:ext cx="947353" cy="1006673"/>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AD33B229-63F9-A68F-DA61-90581C75BC41}"/>
              </a:ext>
            </a:extLst>
          </p:cNvPr>
          <p:cNvCxnSpPr>
            <a:cxnSpLocks/>
            <a:stCxn id="25" idx="2"/>
            <a:endCxn id="21" idx="1"/>
          </p:cNvCxnSpPr>
          <p:nvPr/>
        </p:nvCxnSpPr>
        <p:spPr>
          <a:xfrm rot="16200000" flipH="1">
            <a:off x="6472289" y="2434044"/>
            <a:ext cx="947974" cy="813485"/>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79CBFD86-36FB-4179-5AC1-9836390F8256}"/>
              </a:ext>
            </a:extLst>
          </p:cNvPr>
          <p:cNvCxnSpPr>
            <a:cxnSpLocks/>
          </p:cNvCxnSpPr>
          <p:nvPr/>
        </p:nvCxnSpPr>
        <p:spPr>
          <a:xfrm rot="5400000" flipH="1" flipV="1">
            <a:off x="6502102" y="3444881"/>
            <a:ext cx="878052" cy="803190"/>
          </a:xfrm>
          <a:prstGeom prst="bentConnector3">
            <a:avLst>
              <a:gd name="adj1" fmla="val 98914"/>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6" name="Cylinder 55">
            <a:extLst>
              <a:ext uri="{FF2B5EF4-FFF2-40B4-BE49-F238E27FC236}">
                <a16:creationId xmlns:a16="http://schemas.microsoft.com/office/drawing/2014/main" id="{1A09BB5C-BEF6-E705-E9E4-BDEB1F8196D1}"/>
              </a:ext>
            </a:extLst>
          </p:cNvPr>
          <p:cNvSpPr/>
          <p:nvPr/>
        </p:nvSpPr>
        <p:spPr>
          <a:xfrm>
            <a:off x="5726047" y="4321447"/>
            <a:ext cx="1338647" cy="792891"/>
          </a:xfrm>
          <a:prstGeom prst="ca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Slide Number Placeholder 60">
            <a:extLst>
              <a:ext uri="{FF2B5EF4-FFF2-40B4-BE49-F238E27FC236}">
                <a16:creationId xmlns:a16="http://schemas.microsoft.com/office/drawing/2014/main" id="{07F471A6-61A9-78B2-AC03-9CBFBC1B4DF9}"/>
              </a:ext>
            </a:extLst>
          </p:cNvPr>
          <p:cNvSpPr>
            <a:spLocks noGrp="1"/>
          </p:cNvSpPr>
          <p:nvPr>
            <p:ph type="sldNum" sz="quarter" idx="12"/>
          </p:nvPr>
        </p:nvSpPr>
        <p:spPr/>
        <p:txBody>
          <a:bodyPr/>
          <a:lstStyle/>
          <a:p>
            <a:fld id="{49ABCAEC-7D34-E549-A96E-FCEDAADBE4B0}" type="slidenum">
              <a:rPr lang="en-US" smtClean="0"/>
              <a:t>16</a:t>
            </a:fld>
            <a:endParaRPr lang="en-US"/>
          </a:p>
        </p:txBody>
      </p:sp>
    </p:spTree>
    <p:extLst>
      <p:ext uri="{BB962C8B-B14F-4D97-AF65-F5344CB8AC3E}">
        <p14:creationId xmlns:p14="http://schemas.microsoft.com/office/powerpoint/2010/main" val="6344893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080201A8-8130-9940-0CF2-C0372A44A88D}"/>
              </a:ext>
            </a:extLst>
          </p:cNvPr>
          <p:cNvSpPr txBox="1">
            <a:spLocks/>
          </p:cNvSpPr>
          <p:nvPr/>
        </p:nvSpPr>
        <p:spPr>
          <a:xfrm>
            <a:off x="824261" y="1715616"/>
            <a:ext cx="5042954" cy="39956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chemeClr val="bg1">
                    <a:lumMod val="75000"/>
                  </a:schemeClr>
                </a:solidFill>
                <a:effectLst/>
                <a:uLnTx/>
                <a:uFillTx/>
                <a:latin typeface="Tenorite"/>
                <a:ea typeface="+mn-ea"/>
                <a:cs typeface="+mn-cs"/>
              </a:rPr>
              <a:t>Exploring Demographics, Lifestyle, Career Development</a:t>
            </a:r>
          </a:p>
        </p:txBody>
      </p:sp>
      <p:sp>
        <p:nvSpPr>
          <p:cNvPr id="11" name="Text Placeholder 7">
            <a:extLst>
              <a:ext uri="{FF2B5EF4-FFF2-40B4-BE49-F238E27FC236}">
                <a16:creationId xmlns:a16="http://schemas.microsoft.com/office/drawing/2014/main" id="{ED751B13-18AC-48F0-FFEE-047FE223283B}"/>
              </a:ext>
            </a:extLst>
          </p:cNvPr>
          <p:cNvSpPr txBox="1">
            <a:spLocks/>
          </p:cNvSpPr>
          <p:nvPr/>
        </p:nvSpPr>
        <p:spPr>
          <a:xfrm>
            <a:off x="824261" y="2718167"/>
            <a:ext cx="7076114" cy="350209"/>
          </a:xfrm>
          <a:prstGeom prst="rect">
            <a:avLst/>
          </a:prstGeom>
          <a:solidFill>
            <a:srgbClr val="FFFFFF">
              <a:alpha val="69804"/>
            </a:srgbClr>
          </a:solidFill>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chemeClr val="bg1">
                    <a:lumMod val="75000"/>
                  </a:schemeClr>
                </a:solidFill>
                <a:effectLst/>
                <a:uLnTx/>
                <a:uFillTx/>
                <a:latin typeface="Tenorite"/>
                <a:ea typeface="+mn-ea"/>
                <a:cs typeface="+mn-cs"/>
              </a:rPr>
              <a:t>Identify main factors contributing to the employee’s decision to leave the company</a:t>
            </a:r>
          </a:p>
        </p:txBody>
      </p:sp>
      <p:sp>
        <p:nvSpPr>
          <p:cNvPr id="16" name="Title 2">
            <a:extLst>
              <a:ext uri="{FF2B5EF4-FFF2-40B4-BE49-F238E27FC236}">
                <a16:creationId xmlns:a16="http://schemas.microsoft.com/office/drawing/2014/main" id="{DF29E7B4-6607-540B-2D74-612452C5FB5A}"/>
              </a:ext>
            </a:extLst>
          </p:cNvPr>
          <p:cNvSpPr txBox="1">
            <a:spLocks/>
          </p:cNvSpPr>
          <p:nvPr/>
        </p:nvSpPr>
        <p:spPr>
          <a:xfrm>
            <a:off x="557295" y="153251"/>
            <a:ext cx="733583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PT" sz="4000" b="1" i="0" u="none" strike="noStrike" kern="1200" cap="none" spc="0" normalizeH="0" baseline="0" noProof="0">
                <a:ln>
                  <a:noFill/>
                </a:ln>
                <a:solidFill>
                  <a:srgbClr val="000000"/>
                </a:solidFill>
                <a:effectLst/>
                <a:uLnTx/>
                <a:uFillTx/>
                <a:latin typeface="Neue Haas Grotesk Text Pro"/>
                <a:ea typeface="+mj-ea"/>
                <a:cs typeface="+mj-cs"/>
              </a:rPr>
              <a:t>Main Project Goals</a:t>
            </a:r>
          </a:p>
        </p:txBody>
      </p:sp>
      <p:sp>
        <p:nvSpPr>
          <p:cNvPr id="3" name="Text Placeholder 6">
            <a:extLst>
              <a:ext uri="{FF2B5EF4-FFF2-40B4-BE49-F238E27FC236}">
                <a16:creationId xmlns:a16="http://schemas.microsoft.com/office/drawing/2014/main" id="{5546F4E6-8DC5-1A81-2628-26990ECC3B32}"/>
              </a:ext>
            </a:extLst>
          </p:cNvPr>
          <p:cNvSpPr txBox="1">
            <a:spLocks/>
          </p:cNvSpPr>
          <p:nvPr/>
        </p:nvSpPr>
        <p:spPr>
          <a:xfrm>
            <a:off x="888792" y="3754108"/>
            <a:ext cx="5042954" cy="39956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chemeClr val="bg1">
                    <a:lumMod val="75000"/>
                  </a:schemeClr>
                </a:solidFill>
                <a:latin typeface="Tenorite"/>
              </a:rPr>
              <a:t>Predicting future employee exits</a:t>
            </a:r>
          </a:p>
        </p:txBody>
      </p:sp>
      <p:sp>
        <p:nvSpPr>
          <p:cNvPr id="4" name="Text Placeholder 6">
            <a:extLst>
              <a:ext uri="{FF2B5EF4-FFF2-40B4-BE49-F238E27FC236}">
                <a16:creationId xmlns:a16="http://schemas.microsoft.com/office/drawing/2014/main" id="{DD68A98E-A2B6-F0B8-6AA0-4A06453DDEB1}"/>
              </a:ext>
            </a:extLst>
          </p:cNvPr>
          <p:cNvSpPr txBox="1">
            <a:spLocks/>
          </p:cNvSpPr>
          <p:nvPr/>
        </p:nvSpPr>
        <p:spPr>
          <a:xfrm>
            <a:off x="888792" y="4783692"/>
            <a:ext cx="8134893" cy="70721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rgbClr val="3B9EB1">
                    <a:lumMod val="75000"/>
                  </a:srgbClr>
                </a:solidFill>
                <a:latin typeface="Tenorite"/>
              </a:rPr>
              <a:t>Propose Retention Strategies that can be implemented to target the factors causing attrition</a:t>
            </a:r>
          </a:p>
        </p:txBody>
      </p:sp>
      <p:graphicFrame>
        <p:nvGraphicFramePr>
          <p:cNvPr id="2" name="Diagram 1">
            <a:extLst>
              <a:ext uri="{FF2B5EF4-FFF2-40B4-BE49-F238E27FC236}">
                <a16:creationId xmlns:a16="http://schemas.microsoft.com/office/drawing/2014/main" id="{05540156-63B3-F0B3-69B0-850741C21F54}"/>
              </a:ext>
            </a:extLst>
          </p:cNvPr>
          <p:cNvGraphicFramePr/>
          <p:nvPr>
            <p:extLst>
              <p:ext uri="{D42A27DB-BD31-4B8C-83A1-F6EECF244321}">
                <p14:modId xmlns:p14="http://schemas.microsoft.com/office/powerpoint/2010/main" val="1623001241"/>
              </p:ext>
            </p:extLst>
          </p:nvPr>
        </p:nvGraphicFramePr>
        <p:xfrm>
          <a:off x="698641" y="1422235"/>
          <a:ext cx="5587858" cy="40461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F4BF1826-8DAB-A434-F58B-3C20692C645A}"/>
              </a:ext>
            </a:extLst>
          </p:cNvPr>
          <p:cNvSpPr>
            <a:spLocks noGrp="1"/>
          </p:cNvSpPr>
          <p:nvPr>
            <p:ph type="sldNum" sz="quarter" idx="12"/>
          </p:nvPr>
        </p:nvSpPr>
        <p:spPr/>
        <p:txBody>
          <a:bodyPr/>
          <a:lstStyle/>
          <a:p>
            <a:fld id="{49ABCAEC-7D34-E549-A96E-FCEDAADBE4B0}" type="slidenum">
              <a:rPr lang="en-US" smtClean="0"/>
              <a:t>17</a:t>
            </a:fld>
            <a:endParaRPr lang="en-US"/>
          </a:p>
        </p:txBody>
      </p:sp>
    </p:spTree>
    <p:extLst>
      <p:ext uri="{BB962C8B-B14F-4D97-AF65-F5344CB8AC3E}">
        <p14:creationId xmlns:p14="http://schemas.microsoft.com/office/powerpoint/2010/main" val="6125882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9CBFDB7B-B9A0-BD81-3683-47E92D2E386E}"/>
              </a:ext>
            </a:extLst>
          </p:cNvPr>
          <p:cNvSpPr txBox="1">
            <a:spLocks/>
          </p:cNvSpPr>
          <p:nvPr/>
        </p:nvSpPr>
        <p:spPr>
          <a:xfrm>
            <a:off x="557295" y="153251"/>
            <a:ext cx="10608936"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t-PT">
                <a:solidFill>
                  <a:srgbClr val="000000"/>
                </a:solidFill>
                <a:latin typeface="Neue Haas Grotesk Text Pro"/>
              </a:rPr>
              <a:t>Proposed Employee Retention Strategies</a:t>
            </a:r>
            <a:endParaRPr kumimoji="0" lang="pt-PT" sz="4000" b="1" i="0" u="none" strike="noStrike" kern="1200" cap="none" spc="0" normalizeH="0" baseline="0" noProof="0">
              <a:ln>
                <a:noFill/>
              </a:ln>
              <a:solidFill>
                <a:srgbClr val="000000"/>
              </a:solidFill>
              <a:effectLst/>
              <a:uLnTx/>
              <a:uFillTx/>
              <a:latin typeface="Neue Haas Grotesk Text Pro"/>
              <a:ea typeface="+mj-ea"/>
              <a:cs typeface="+mj-cs"/>
            </a:endParaRPr>
          </a:p>
        </p:txBody>
      </p:sp>
      <p:graphicFrame>
        <p:nvGraphicFramePr>
          <p:cNvPr id="5" name="Content Placeholder 30">
            <a:extLst>
              <a:ext uri="{FF2B5EF4-FFF2-40B4-BE49-F238E27FC236}">
                <a16:creationId xmlns:a16="http://schemas.microsoft.com/office/drawing/2014/main" id="{AD0E971A-8557-4A32-A366-1CA56DBC0090}"/>
              </a:ext>
            </a:extLst>
          </p:cNvPr>
          <p:cNvGraphicFramePr>
            <a:graphicFrameLocks/>
          </p:cNvGraphicFramePr>
          <p:nvPr>
            <p:extLst>
              <p:ext uri="{D42A27DB-BD31-4B8C-83A1-F6EECF244321}">
                <p14:modId xmlns:p14="http://schemas.microsoft.com/office/powerpoint/2010/main" val="1045647890"/>
              </p:ext>
            </p:extLst>
          </p:nvPr>
        </p:nvGraphicFramePr>
        <p:xfrm>
          <a:off x="739254" y="2607571"/>
          <a:ext cx="10172477" cy="33894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descr="man ">
            <a:extLst>
              <a:ext uri="{FF2B5EF4-FFF2-40B4-BE49-F238E27FC236}">
                <a16:creationId xmlns:a16="http://schemas.microsoft.com/office/drawing/2014/main" id="{05C37C03-6A8A-795C-2AC7-0341E8D3C5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9254" y="1355740"/>
            <a:ext cx="1001161" cy="100116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73BBD2E-E4C2-9722-E574-202844E7EBB4}"/>
              </a:ext>
            </a:extLst>
          </p:cNvPr>
          <p:cNvSpPr txBox="1">
            <a:spLocks/>
          </p:cNvSpPr>
          <p:nvPr/>
        </p:nvSpPr>
        <p:spPr>
          <a:xfrm>
            <a:off x="561743" y="834672"/>
            <a:ext cx="9889842" cy="52106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a:rPr>
              <a:t>Focus on the Young Employee type most likely to quit in the first years of their career</a:t>
            </a:r>
          </a:p>
          <a:p>
            <a:pPr marL="0" indent="0">
              <a:buNone/>
            </a:pPr>
            <a:endParaRPr lang="en-US" sz="1800" b="1">
              <a:solidFill>
                <a:schemeClr val="accent1">
                  <a:lumMod val="75000"/>
                </a:schemeClr>
              </a:solidFill>
              <a:latin typeface="Tenorite" panose="00000500000000000000" pitchFamily="2" charset="0"/>
            </a:endParaRPr>
          </a:p>
        </p:txBody>
      </p:sp>
      <p:sp>
        <p:nvSpPr>
          <p:cNvPr id="2" name="Slide Number Placeholder 1">
            <a:extLst>
              <a:ext uri="{FF2B5EF4-FFF2-40B4-BE49-F238E27FC236}">
                <a16:creationId xmlns:a16="http://schemas.microsoft.com/office/drawing/2014/main" id="{2B19A176-8C27-FC47-DCC9-CA06E04F1393}"/>
              </a:ext>
            </a:extLst>
          </p:cNvPr>
          <p:cNvSpPr>
            <a:spLocks noGrp="1"/>
          </p:cNvSpPr>
          <p:nvPr>
            <p:ph type="sldNum" sz="quarter" idx="12"/>
          </p:nvPr>
        </p:nvSpPr>
        <p:spPr/>
        <p:txBody>
          <a:bodyPr/>
          <a:lstStyle/>
          <a:p>
            <a:fld id="{49ABCAEC-7D34-E549-A96E-FCEDAADBE4B0}" type="slidenum">
              <a:rPr lang="en-US" smtClean="0"/>
              <a:t>18</a:t>
            </a:fld>
            <a:endParaRPr lang="en-US"/>
          </a:p>
        </p:txBody>
      </p:sp>
    </p:spTree>
    <p:extLst>
      <p:ext uri="{BB962C8B-B14F-4D97-AF65-F5344CB8AC3E}">
        <p14:creationId xmlns:p14="http://schemas.microsoft.com/office/powerpoint/2010/main" val="3379930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0">
            <a:extLst>
              <a:ext uri="{FF2B5EF4-FFF2-40B4-BE49-F238E27FC236}">
                <a16:creationId xmlns:a16="http://schemas.microsoft.com/office/drawing/2014/main" id="{AD0E971A-8557-4A32-A366-1CA56DBC0090}"/>
              </a:ext>
            </a:extLst>
          </p:cNvPr>
          <p:cNvGraphicFramePr>
            <a:graphicFrameLocks/>
          </p:cNvGraphicFramePr>
          <p:nvPr>
            <p:extLst>
              <p:ext uri="{D42A27DB-BD31-4B8C-83A1-F6EECF244321}">
                <p14:modId xmlns:p14="http://schemas.microsoft.com/office/powerpoint/2010/main" val="4124120695"/>
              </p:ext>
            </p:extLst>
          </p:nvPr>
        </p:nvGraphicFramePr>
        <p:xfrm>
          <a:off x="1255594" y="2145792"/>
          <a:ext cx="9656137" cy="38775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2">
            <a:extLst>
              <a:ext uri="{FF2B5EF4-FFF2-40B4-BE49-F238E27FC236}">
                <a16:creationId xmlns:a16="http://schemas.microsoft.com/office/drawing/2014/main" id="{9CBFDB7B-B9A0-BD81-3683-47E92D2E386E}"/>
              </a:ext>
            </a:extLst>
          </p:cNvPr>
          <p:cNvSpPr txBox="1">
            <a:spLocks/>
          </p:cNvSpPr>
          <p:nvPr/>
        </p:nvSpPr>
        <p:spPr>
          <a:xfrm>
            <a:off x="557295" y="153251"/>
            <a:ext cx="10608936"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t-PT">
                <a:solidFill>
                  <a:srgbClr val="000000"/>
                </a:solidFill>
                <a:latin typeface="Neue Haas Grotesk Text Pro"/>
              </a:rPr>
              <a:t>Proposed Employee Retention Strategies</a:t>
            </a:r>
            <a:endParaRPr kumimoji="0" lang="pt-PT" sz="4000" b="1" i="0" u="none" strike="noStrike" kern="1200" cap="none" spc="0" normalizeH="0" baseline="0" noProof="0">
              <a:ln>
                <a:noFill/>
              </a:ln>
              <a:solidFill>
                <a:srgbClr val="000000"/>
              </a:solidFill>
              <a:effectLst/>
              <a:uLnTx/>
              <a:uFillTx/>
              <a:latin typeface="Neue Haas Grotesk Text Pro"/>
              <a:ea typeface="+mj-ea"/>
              <a:cs typeface="+mj-cs"/>
            </a:endParaRPr>
          </a:p>
        </p:txBody>
      </p:sp>
      <p:pic>
        <p:nvPicPr>
          <p:cNvPr id="6" name="Picture 6" descr="Insurance ">
            <a:extLst>
              <a:ext uri="{FF2B5EF4-FFF2-40B4-BE49-F238E27FC236}">
                <a16:creationId xmlns:a16="http://schemas.microsoft.com/office/drawing/2014/main" id="{E9856B76-3B1A-2D62-FF99-92707641C5D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6626" y="1498435"/>
            <a:ext cx="967674" cy="967674"/>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9A723E1C-CD00-5920-F343-D74DDB710318}"/>
              </a:ext>
            </a:extLst>
          </p:cNvPr>
          <p:cNvSpPr txBox="1">
            <a:spLocks/>
          </p:cNvSpPr>
          <p:nvPr/>
        </p:nvSpPr>
        <p:spPr>
          <a:xfrm>
            <a:off x="561743" y="834672"/>
            <a:ext cx="9889842" cy="52106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a:rPr>
              <a:t>Offering competitive base salaries or hourly wages is an essential factor in retaining employees</a:t>
            </a:r>
            <a:endParaRPr lang="en-US" sz="1800" b="1">
              <a:solidFill>
                <a:schemeClr val="accent1">
                  <a:lumMod val="75000"/>
                </a:schemeClr>
              </a:solidFill>
              <a:latin typeface="Tenorite" panose="00000500000000000000" pitchFamily="2" charset="0"/>
            </a:endParaRPr>
          </a:p>
        </p:txBody>
      </p:sp>
      <p:sp>
        <p:nvSpPr>
          <p:cNvPr id="2" name="Slide Number Placeholder 1">
            <a:extLst>
              <a:ext uri="{FF2B5EF4-FFF2-40B4-BE49-F238E27FC236}">
                <a16:creationId xmlns:a16="http://schemas.microsoft.com/office/drawing/2014/main" id="{CAB9C958-1D12-677A-143A-0111CE21EAE2}"/>
              </a:ext>
            </a:extLst>
          </p:cNvPr>
          <p:cNvSpPr>
            <a:spLocks noGrp="1"/>
          </p:cNvSpPr>
          <p:nvPr>
            <p:ph type="sldNum" sz="quarter" idx="12"/>
          </p:nvPr>
        </p:nvSpPr>
        <p:spPr/>
        <p:txBody>
          <a:bodyPr/>
          <a:lstStyle/>
          <a:p>
            <a:fld id="{49ABCAEC-7D34-E549-A96E-FCEDAADBE4B0}" type="slidenum">
              <a:rPr lang="en-US" smtClean="0"/>
              <a:t>19</a:t>
            </a:fld>
            <a:endParaRPr lang="en-US"/>
          </a:p>
        </p:txBody>
      </p:sp>
    </p:spTree>
    <p:extLst>
      <p:ext uri="{BB962C8B-B14F-4D97-AF65-F5344CB8AC3E}">
        <p14:creationId xmlns:p14="http://schemas.microsoft.com/office/powerpoint/2010/main" val="1558287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0FBB4737-C0B4-620F-A464-0BF85F3822D1}"/>
              </a:ext>
            </a:extLst>
          </p:cNvPr>
          <p:cNvSpPr>
            <a:spLocks noGrp="1"/>
          </p:cNvSpPr>
          <p:nvPr>
            <p:ph type="title"/>
          </p:nvPr>
        </p:nvSpPr>
        <p:spPr/>
        <p:txBody>
          <a:bodyPr>
            <a:normAutofit/>
          </a:bodyPr>
          <a:lstStyle/>
          <a:p>
            <a:r>
              <a:rPr lang="pt-PT" sz="4400"/>
              <a:t>Agenda</a:t>
            </a:r>
          </a:p>
        </p:txBody>
      </p:sp>
      <p:sp>
        <p:nvSpPr>
          <p:cNvPr id="4" name="Text Placeholder 10">
            <a:extLst>
              <a:ext uri="{FF2B5EF4-FFF2-40B4-BE49-F238E27FC236}">
                <a16:creationId xmlns:a16="http://schemas.microsoft.com/office/drawing/2014/main" id="{2EC120C7-F47D-B4DB-751E-81918A6CF3CA}"/>
              </a:ext>
            </a:extLst>
          </p:cNvPr>
          <p:cNvSpPr txBox="1">
            <a:spLocks/>
          </p:cNvSpPr>
          <p:nvPr/>
        </p:nvSpPr>
        <p:spPr>
          <a:xfrm>
            <a:off x="1401345" y="1726531"/>
            <a:ext cx="4910745" cy="418295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9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100000"/>
              </a:lnSpc>
              <a:spcBef>
                <a:spcPts val="900"/>
              </a:spcBef>
              <a:buFont typeface="Arial" panose="020B0604020202020204" pitchFamily="34" charset="0"/>
              <a:buChar char="•"/>
              <a:defRPr sz="2000" b="0" i="0" kern="1200">
                <a:solidFill>
                  <a:schemeClr val="tx1"/>
                </a:solidFill>
                <a:latin typeface="+mn-lt"/>
                <a:ea typeface="+mn-ea"/>
                <a:cs typeface="+mn-cs"/>
              </a:defRPr>
            </a:lvl2pPr>
            <a:lvl3pPr marL="1143000" indent="-228600" algn="l" defTabSz="914400" rtl="0" eaLnBrk="1" latinLnBrk="0" hangingPunct="1">
              <a:lnSpc>
                <a:spcPct val="100000"/>
              </a:lnSpc>
              <a:spcBef>
                <a:spcPts val="900"/>
              </a:spcBef>
              <a:buFont typeface="Arial" panose="020B0604020202020204" pitchFamily="34" charset="0"/>
              <a:buChar char="•"/>
              <a:defRPr sz="1800" b="0" i="0" kern="1200">
                <a:solidFill>
                  <a:schemeClr val="tx1"/>
                </a:solidFill>
                <a:latin typeface="+mn-lt"/>
                <a:ea typeface="+mn-ea"/>
                <a:cs typeface="+mn-cs"/>
              </a:defRPr>
            </a:lvl3pPr>
            <a:lvl4pPr marL="1600200" indent="-228600" algn="l" defTabSz="914400" rtl="0" eaLnBrk="1" latinLnBrk="0" hangingPunct="1">
              <a:lnSpc>
                <a:spcPct val="100000"/>
              </a:lnSpc>
              <a:spcBef>
                <a:spcPts val="900"/>
              </a:spcBef>
              <a:buFont typeface="Arial" panose="020B0604020202020204" pitchFamily="34" charset="0"/>
              <a:buChar char="•"/>
              <a:defRPr sz="1600" b="0" i="0" kern="1200">
                <a:solidFill>
                  <a:schemeClr val="tx1"/>
                </a:solidFill>
                <a:latin typeface="+mn-lt"/>
                <a:ea typeface="+mn-ea"/>
                <a:cs typeface="+mn-cs"/>
              </a:defRPr>
            </a:lvl4pPr>
            <a:lvl5pPr marL="2057400" indent="-228600" algn="l" defTabSz="914400" rtl="0" eaLnBrk="1" latinLnBrk="0" hangingPunct="1">
              <a:lnSpc>
                <a:spcPct val="100000"/>
              </a:lnSpc>
              <a:spcBef>
                <a:spcPts val="9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Executive Summary</a:t>
            </a: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Employee Attrition indicators</a:t>
            </a: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Main Project goals</a:t>
            </a:r>
          </a:p>
          <a:p>
            <a:pPr marL="457200" lvl="1" indent="0">
              <a:lnSpc>
                <a:spcPct val="120000"/>
              </a:lnSpc>
              <a:spcBef>
                <a:spcPts val="1000"/>
              </a:spcBef>
              <a:buNone/>
              <a:defRPr/>
            </a:pPr>
            <a:r>
              <a:rPr kumimoji="0" lang="en-US" sz="2400" b="1"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Team Profile</a:t>
            </a:r>
          </a:p>
          <a:p>
            <a:pPr marL="457200" lvl="1" indent="0">
              <a:lnSpc>
                <a:spcPct val="120000"/>
              </a:lnSpc>
              <a:spcBef>
                <a:spcPts val="1000"/>
              </a:spcBef>
              <a:buNone/>
              <a:defRPr/>
            </a:pPr>
            <a:r>
              <a:rPr kumimoji="0" lang="en-US" sz="2400" b="1"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Factors causing attrition</a:t>
            </a:r>
          </a:p>
          <a:p>
            <a:pPr marL="457200" lvl="1" indent="0">
              <a:lnSpc>
                <a:spcPct val="120000"/>
              </a:lnSpc>
              <a:spcBef>
                <a:spcPts val="1000"/>
              </a:spcBef>
              <a:buNone/>
              <a:defRPr/>
            </a:pPr>
            <a:r>
              <a:rPr kumimoji="0" lang="en-US" sz="2400" b="1"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Employee Attrition rates</a:t>
            </a:r>
          </a:p>
          <a:p>
            <a:pPr marL="457200" lvl="1" indent="0">
              <a:lnSpc>
                <a:spcPct val="120000"/>
              </a:lnSpc>
              <a:spcBef>
                <a:spcPts val="1000"/>
              </a:spcBef>
              <a:buNone/>
              <a:defRPr/>
            </a:pPr>
            <a:r>
              <a:rPr kumimoji="0" lang="en-US" sz="2400" b="1"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Retention Strategies</a:t>
            </a:r>
            <a:endParaRPr kumimoji="0" lang="pt-PT" sz="2400" b="1" i="0" u="none" strike="noStrike" kern="1200" cap="none" spc="0" normalizeH="0" baseline="0" noProof="0">
              <a:ln>
                <a:noFill/>
              </a:ln>
              <a:solidFill>
                <a:srgbClr val="000000"/>
              </a:solidFill>
              <a:effectLst/>
              <a:uLnTx/>
              <a:uFillTx/>
              <a:latin typeface="Neue Haas Grotesk Text Pro"/>
              <a:ea typeface="+mn-ea"/>
              <a:cs typeface="+mn-cs"/>
            </a:endParaRPr>
          </a:p>
        </p:txBody>
      </p:sp>
      <p:sp>
        <p:nvSpPr>
          <p:cNvPr id="2" name="Slide Number Placeholder 1">
            <a:extLst>
              <a:ext uri="{FF2B5EF4-FFF2-40B4-BE49-F238E27FC236}">
                <a16:creationId xmlns:a16="http://schemas.microsoft.com/office/drawing/2014/main" id="{3D84E237-4CDD-0BAD-F10F-8FB268A36DA7}"/>
              </a:ext>
            </a:extLst>
          </p:cNvPr>
          <p:cNvSpPr>
            <a:spLocks noGrp="1"/>
          </p:cNvSpPr>
          <p:nvPr>
            <p:ph type="sldNum" sz="quarter" idx="12"/>
          </p:nvPr>
        </p:nvSpPr>
        <p:spPr/>
        <p:txBody>
          <a:bodyPr/>
          <a:lstStyle/>
          <a:p>
            <a:fld id="{49ABCAEC-7D34-E549-A96E-FCEDAADBE4B0}" type="slidenum">
              <a:rPr lang="en-US" smtClean="0"/>
              <a:t>2</a:t>
            </a:fld>
            <a:endParaRPr lang="en-US"/>
          </a:p>
        </p:txBody>
      </p:sp>
    </p:spTree>
    <p:extLst>
      <p:ext uri="{BB962C8B-B14F-4D97-AF65-F5344CB8AC3E}">
        <p14:creationId xmlns:p14="http://schemas.microsoft.com/office/powerpoint/2010/main" val="34418851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0">
            <a:extLst>
              <a:ext uri="{FF2B5EF4-FFF2-40B4-BE49-F238E27FC236}">
                <a16:creationId xmlns:a16="http://schemas.microsoft.com/office/drawing/2014/main" id="{AD0E971A-8557-4A32-A366-1CA56DBC0090}"/>
              </a:ext>
            </a:extLst>
          </p:cNvPr>
          <p:cNvGraphicFramePr>
            <a:graphicFrameLocks/>
          </p:cNvGraphicFramePr>
          <p:nvPr>
            <p:extLst>
              <p:ext uri="{D42A27DB-BD31-4B8C-83A1-F6EECF244321}">
                <p14:modId xmlns:p14="http://schemas.microsoft.com/office/powerpoint/2010/main" val="1341678380"/>
              </p:ext>
            </p:extLst>
          </p:nvPr>
        </p:nvGraphicFramePr>
        <p:xfrm>
          <a:off x="935182" y="2145792"/>
          <a:ext cx="9976550" cy="37908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2">
            <a:extLst>
              <a:ext uri="{FF2B5EF4-FFF2-40B4-BE49-F238E27FC236}">
                <a16:creationId xmlns:a16="http://schemas.microsoft.com/office/drawing/2014/main" id="{9CBFDB7B-B9A0-BD81-3683-47E92D2E386E}"/>
              </a:ext>
            </a:extLst>
          </p:cNvPr>
          <p:cNvSpPr txBox="1">
            <a:spLocks/>
          </p:cNvSpPr>
          <p:nvPr/>
        </p:nvSpPr>
        <p:spPr>
          <a:xfrm>
            <a:off x="557295" y="153251"/>
            <a:ext cx="10608936"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t-PT">
                <a:solidFill>
                  <a:srgbClr val="000000"/>
                </a:solidFill>
                <a:latin typeface="Neue Haas Grotesk Text Pro"/>
              </a:rPr>
              <a:t>Proposed Employee Retention Strategies</a:t>
            </a:r>
            <a:endParaRPr kumimoji="0" lang="pt-PT" sz="4000" b="1" i="0" u="none" strike="noStrike" kern="1200" cap="none" spc="0" normalizeH="0" baseline="0" noProof="0">
              <a:ln>
                <a:noFill/>
              </a:ln>
              <a:solidFill>
                <a:srgbClr val="000000"/>
              </a:solidFill>
              <a:effectLst/>
              <a:uLnTx/>
              <a:uFillTx/>
              <a:latin typeface="Neue Haas Grotesk Text Pro"/>
              <a:ea typeface="+mj-ea"/>
              <a:cs typeface="+mj-cs"/>
            </a:endParaRPr>
          </a:p>
        </p:txBody>
      </p:sp>
      <p:pic>
        <p:nvPicPr>
          <p:cNvPr id="7" name="Picture 12" descr="Work life balance ">
            <a:extLst>
              <a:ext uri="{FF2B5EF4-FFF2-40B4-BE49-F238E27FC236}">
                <a16:creationId xmlns:a16="http://schemas.microsoft.com/office/drawing/2014/main" id="{B6B8CE41-C79E-9E83-F7A6-75FA963D93D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664" y="1301738"/>
            <a:ext cx="887828" cy="887828"/>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E262389E-5914-C425-3248-32672440DBC1}"/>
              </a:ext>
            </a:extLst>
          </p:cNvPr>
          <p:cNvSpPr txBox="1">
            <a:spLocks/>
          </p:cNvSpPr>
          <p:nvPr/>
        </p:nvSpPr>
        <p:spPr>
          <a:xfrm>
            <a:off x="557295" y="830453"/>
            <a:ext cx="10012896" cy="52106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a:rPr>
              <a:t>Employee retention is greatly influenced by initiatives that supports a good work-life balance</a:t>
            </a:r>
          </a:p>
        </p:txBody>
      </p:sp>
      <p:sp>
        <p:nvSpPr>
          <p:cNvPr id="2" name="Slide Number Placeholder 1">
            <a:extLst>
              <a:ext uri="{FF2B5EF4-FFF2-40B4-BE49-F238E27FC236}">
                <a16:creationId xmlns:a16="http://schemas.microsoft.com/office/drawing/2014/main" id="{E4EE1DBE-8EAE-CB1E-518A-A31A0CF6656F}"/>
              </a:ext>
            </a:extLst>
          </p:cNvPr>
          <p:cNvSpPr>
            <a:spLocks noGrp="1"/>
          </p:cNvSpPr>
          <p:nvPr>
            <p:ph type="sldNum" sz="quarter" idx="12"/>
          </p:nvPr>
        </p:nvSpPr>
        <p:spPr/>
        <p:txBody>
          <a:bodyPr/>
          <a:lstStyle/>
          <a:p>
            <a:fld id="{49ABCAEC-7D34-E549-A96E-FCEDAADBE4B0}" type="slidenum">
              <a:rPr lang="en-US" smtClean="0"/>
              <a:t>20</a:t>
            </a:fld>
            <a:endParaRPr lang="en-US"/>
          </a:p>
        </p:txBody>
      </p:sp>
    </p:spTree>
    <p:extLst>
      <p:ext uri="{BB962C8B-B14F-4D97-AF65-F5344CB8AC3E}">
        <p14:creationId xmlns:p14="http://schemas.microsoft.com/office/powerpoint/2010/main" val="27833843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038BE6-CDA8-4ABC-6DF7-8AB354176A2E}"/>
              </a:ext>
            </a:extLst>
          </p:cNvPr>
          <p:cNvSpPr>
            <a:spLocks noGrp="1"/>
          </p:cNvSpPr>
          <p:nvPr>
            <p:ph type="ctrTitle"/>
          </p:nvPr>
        </p:nvSpPr>
        <p:spPr>
          <a:xfrm>
            <a:off x="471366" y="1587892"/>
            <a:ext cx="5066001" cy="1764908"/>
          </a:xfrm>
        </p:spPr>
        <p:txBody>
          <a:bodyPr>
            <a:normAutofit/>
          </a:bodyPr>
          <a:lstStyle/>
          <a:p>
            <a:r>
              <a:rPr lang="en-US">
                <a:latin typeface="Tenorite" panose="00000500000000000000" pitchFamily="2" charset="0"/>
              </a:rPr>
              <a:t>THANK YOU</a:t>
            </a:r>
            <a:endParaRPr lang="pt-PT">
              <a:latin typeface="Tenorite" panose="00000500000000000000" pitchFamily="2" charset="0"/>
            </a:endParaRPr>
          </a:p>
        </p:txBody>
      </p:sp>
      <p:sp>
        <p:nvSpPr>
          <p:cNvPr id="2" name="Subtitle 1">
            <a:extLst>
              <a:ext uri="{FF2B5EF4-FFF2-40B4-BE49-F238E27FC236}">
                <a16:creationId xmlns:a16="http://schemas.microsoft.com/office/drawing/2014/main" id="{D99A9C8E-9589-E98C-960A-388CEF705B19}"/>
              </a:ext>
            </a:extLst>
          </p:cNvPr>
          <p:cNvSpPr>
            <a:spLocks noGrp="1"/>
          </p:cNvSpPr>
          <p:nvPr>
            <p:ph type="subTitle" idx="1"/>
          </p:nvPr>
        </p:nvSpPr>
        <p:spPr>
          <a:xfrm>
            <a:off x="524119" y="3505200"/>
            <a:ext cx="5066001" cy="2950739"/>
          </a:xfrm>
        </p:spPr>
        <p:txBody>
          <a:bodyPr>
            <a:normAutofit/>
          </a:body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1800" b="1" i="0" u="none" strike="noStrike" kern="1200" cap="none" spc="50" normalizeH="0" baseline="0" noProof="0">
                <a:ln>
                  <a:noFill/>
                </a:ln>
                <a:solidFill>
                  <a:srgbClr val="3B9EB1"/>
                </a:solidFill>
                <a:effectLst/>
                <a:uLnTx/>
                <a:uFillTx/>
                <a:latin typeface="Tenorite"/>
                <a:ea typeface="+mn-ea"/>
                <a:cs typeface="+mn-cs"/>
              </a:rPr>
              <a:t>EDSB23Q</a:t>
            </a:r>
            <a:endParaRPr kumimoji="0" lang="en-US" sz="1800" b="1" i="0" u="none" strike="noStrike" kern="1200" cap="none" spc="50" normalizeH="0" baseline="0" noProof="0">
              <a:ln>
                <a:noFill/>
              </a:ln>
              <a:solidFill>
                <a:srgbClr val="3B9EB1"/>
              </a:solidFill>
              <a:effectLst/>
              <a:uLnTx/>
              <a:uFillTx/>
              <a:latin typeface="Tenorite"/>
              <a:ea typeface="+mn-ea"/>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13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André Pereira</a:t>
            </a:r>
            <a:r>
              <a:rPr kumimoji="0" lang="pt-PT" sz="13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 20221204@novaims.unl.pt</a:t>
            </a:r>
            <a:endParaRPr kumimoji="0" lang="pt-PT" sz="1300" b="0" i="0" u="none" strike="noStrike" kern="1200" cap="none" spc="50" normalizeH="0" baseline="0" noProof="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13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Francisco Antelo</a:t>
            </a:r>
            <a:r>
              <a:rPr kumimoji="0" lang="pt-PT" sz="13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a:t>
            </a:r>
            <a:r>
              <a:rPr kumimoji="0" lang="pt-PT" sz="13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 </a:t>
            </a:r>
            <a:r>
              <a:rPr kumimoji="0" lang="pt-PT" sz="13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20221624 @novaims.unl.pt</a:t>
            </a:r>
            <a:endParaRPr kumimoji="0" lang="pt-PT" sz="1300" b="0" i="0" u="none" strike="noStrike" kern="1200" cap="none" spc="50" normalizeH="0" baseline="0" noProof="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13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Hortense Matos</a:t>
            </a:r>
            <a:r>
              <a:rPr kumimoji="0" lang="pt-PT" sz="13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a:t>
            </a:r>
            <a:r>
              <a:rPr kumimoji="0" lang="pt-PT" sz="13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 </a:t>
            </a:r>
            <a:r>
              <a:rPr kumimoji="0" lang="pt-PT" sz="13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20222167 @novaims.unl.pt </a:t>
            </a:r>
            <a:endParaRPr kumimoji="0" lang="pt-PT" sz="1300" b="0" i="0" u="none" strike="noStrike" kern="1200" cap="none" spc="50" normalizeH="0" baseline="0" noProof="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pt-PT" sz="1300" b="1"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Irina Keis</a:t>
            </a:r>
            <a:r>
              <a:rPr kumimoji="0" lang="pt-PT" sz="1300" b="0" i="0" u="none" strike="noStrike" kern="1200" cap="none" spc="50" normalizeH="0" baseline="0" noProof="0">
                <a:ln>
                  <a:noFill/>
                </a:ln>
                <a:solidFill>
                  <a:srgbClr val="000000"/>
                </a:solidFill>
                <a:effectLst/>
                <a:uLnTx/>
                <a:uFillTx/>
                <a:latin typeface="Aptos" panose="020B0004020202020204" pitchFamily="34" charset="0"/>
                <a:ea typeface="Calibri" panose="020F0502020204030204" pitchFamily="34" charset="0"/>
                <a:cs typeface="+mn-cs"/>
              </a:rPr>
              <a:t>, 20222168 @novaims.unl.pt</a:t>
            </a:r>
            <a:endParaRPr kumimoji="0" lang="pt-PT" sz="1300" b="0" i="0" u="none" strike="noStrike" kern="1200" cap="none" spc="50" normalizeH="0" baseline="0" noProof="0">
              <a:ln>
                <a:noFill/>
              </a:ln>
              <a:solidFill>
                <a:prstClr val="black">
                  <a:lumMod val="75000"/>
                  <a:lumOff val="25000"/>
                </a:prstClr>
              </a:solidFill>
              <a:effectLst/>
              <a:uLnTx/>
              <a:uFillTx/>
              <a:latin typeface="Calibri" panose="020F0502020204030204" pitchFamily="34" charset="0"/>
              <a:ea typeface="Calibri" panose="020F0502020204030204" pitchFamily="34" charset="0"/>
              <a:cs typeface="+mn-cs"/>
            </a:endParaRPr>
          </a:p>
          <a:p>
            <a:endParaRPr lang="pt-PT"/>
          </a:p>
        </p:txBody>
      </p:sp>
    </p:spTree>
    <p:extLst>
      <p:ext uri="{BB962C8B-B14F-4D97-AF65-F5344CB8AC3E}">
        <p14:creationId xmlns:p14="http://schemas.microsoft.com/office/powerpoint/2010/main" val="36137297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038BE6-CDA8-4ABC-6DF7-8AB354176A2E}"/>
              </a:ext>
            </a:extLst>
          </p:cNvPr>
          <p:cNvSpPr>
            <a:spLocks noGrp="1"/>
          </p:cNvSpPr>
          <p:nvPr>
            <p:ph type="title"/>
          </p:nvPr>
        </p:nvSpPr>
        <p:spPr/>
        <p:txBody>
          <a:bodyPr/>
          <a:lstStyle/>
          <a:p>
            <a:r>
              <a:rPr lang="pt-PT"/>
              <a:t>Back-up Slides</a:t>
            </a:r>
          </a:p>
        </p:txBody>
      </p:sp>
      <p:sp>
        <p:nvSpPr>
          <p:cNvPr id="5" name="Text Placeholder 4">
            <a:extLst>
              <a:ext uri="{FF2B5EF4-FFF2-40B4-BE49-F238E27FC236}">
                <a16:creationId xmlns:a16="http://schemas.microsoft.com/office/drawing/2014/main" id="{3F1010CA-8ED5-6FF4-8234-26AA5C853B9B}"/>
              </a:ext>
            </a:extLst>
          </p:cNvPr>
          <p:cNvSpPr>
            <a:spLocks noGrp="1"/>
          </p:cNvSpPr>
          <p:nvPr>
            <p:ph type="body" idx="1"/>
          </p:nvPr>
        </p:nvSpPr>
        <p:spPr/>
        <p:txBody>
          <a:bodyPr/>
          <a:lstStyle/>
          <a:p>
            <a:endParaRPr lang="pt-PT"/>
          </a:p>
        </p:txBody>
      </p:sp>
      <p:sp>
        <p:nvSpPr>
          <p:cNvPr id="2" name="Slide Number Placeholder 1">
            <a:extLst>
              <a:ext uri="{FF2B5EF4-FFF2-40B4-BE49-F238E27FC236}">
                <a16:creationId xmlns:a16="http://schemas.microsoft.com/office/drawing/2014/main" id="{A0391E77-3CD7-E49C-4F94-BF979BE4F302}"/>
              </a:ext>
            </a:extLst>
          </p:cNvPr>
          <p:cNvSpPr>
            <a:spLocks noGrp="1"/>
          </p:cNvSpPr>
          <p:nvPr>
            <p:ph type="sldNum" sz="quarter" idx="12"/>
          </p:nvPr>
        </p:nvSpPr>
        <p:spPr/>
        <p:txBody>
          <a:bodyPr/>
          <a:lstStyle/>
          <a:p>
            <a:fld id="{49ABCAEC-7D34-E549-A96E-FCEDAADBE4B0}" type="slidenum">
              <a:rPr lang="en-US" smtClean="0"/>
              <a:t>22</a:t>
            </a:fld>
            <a:endParaRPr lang="en-US"/>
          </a:p>
        </p:txBody>
      </p:sp>
    </p:spTree>
    <p:extLst>
      <p:ext uri="{BB962C8B-B14F-4D97-AF65-F5344CB8AC3E}">
        <p14:creationId xmlns:p14="http://schemas.microsoft.com/office/powerpoint/2010/main" val="30332046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EF02D-F018-0C29-66DC-F8D0129401EA}"/>
              </a:ext>
            </a:extLst>
          </p:cNvPr>
          <p:cNvSpPr>
            <a:spLocks noGrp="1"/>
          </p:cNvSpPr>
          <p:nvPr>
            <p:ph type="title"/>
          </p:nvPr>
        </p:nvSpPr>
        <p:spPr/>
        <p:txBody>
          <a:bodyPr>
            <a:normAutofit fontScale="90000"/>
          </a:bodyPr>
          <a:lstStyle/>
          <a:p>
            <a:r>
              <a:rPr lang="pt-PT" err="1"/>
              <a:t>Feature</a:t>
            </a:r>
            <a:r>
              <a:rPr lang="pt-PT"/>
              <a:t> </a:t>
            </a:r>
            <a:r>
              <a:rPr lang="pt-PT" err="1"/>
              <a:t>Selection</a:t>
            </a:r>
            <a:r>
              <a:rPr lang="pt-PT"/>
              <a:t> – Chi </a:t>
            </a:r>
            <a:r>
              <a:rPr lang="pt-PT" err="1"/>
              <a:t>Square</a:t>
            </a:r>
          </a:p>
        </p:txBody>
      </p:sp>
      <p:pic>
        <p:nvPicPr>
          <p:cNvPr id="2" name="Picture 1" descr="A screenshot of a video game&#10;&#10;Description automatically generated">
            <a:extLst>
              <a:ext uri="{FF2B5EF4-FFF2-40B4-BE49-F238E27FC236}">
                <a16:creationId xmlns:a16="http://schemas.microsoft.com/office/drawing/2014/main" id="{23E45DDC-DF3C-3DE9-AB9B-7B154F4B5D72}"/>
              </a:ext>
            </a:extLst>
          </p:cNvPr>
          <p:cNvPicPr>
            <a:picLocks noChangeAspect="1"/>
          </p:cNvPicPr>
          <p:nvPr/>
        </p:nvPicPr>
        <p:blipFill>
          <a:blip r:embed="rId2"/>
          <a:stretch>
            <a:fillRect/>
          </a:stretch>
        </p:blipFill>
        <p:spPr>
          <a:xfrm>
            <a:off x="568960" y="2042160"/>
            <a:ext cx="10099040" cy="3789680"/>
          </a:xfrm>
          <a:prstGeom prst="rect">
            <a:avLst/>
          </a:prstGeom>
        </p:spPr>
      </p:pic>
      <p:sp>
        <p:nvSpPr>
          <p:cNvPr id="3" name="Slide Number Placeholder 2">
            <a:extLst>
              <a:ext uri="{FF2B5EF4-FFF2-40B4-BE49-F238E27FC236}">
                <a16:creationId xmlns:a16="http://schemas.microsoft.com/office/drawing/2014/main" id="{11923AC5-6760-D70F-6934-F95A689A4237}"/>
              </a:ext>
            </a:extLst>
          </p:cNvPr>
          <p:cNvSpPr>
            <a:spLocks noGrp="1"/>
          </p:cNvSpPr>
          <p:nvPr>
            <p:ph type="sldNum" sz="quarter" idx="12"/>
          </p:nvPr>
        </p:nvSpPr>
        <p:spPr/>
        <p:txBody>
          <a:bodyPr/>
          <a:lstStyle/>
          <a:p>
            <a:fld id="{49ABCAEC-7D34-E549-A96E-FCEDAADBE4B0}" type="slidenum">
              <a:rPr lang="en-US" smtClean="0"/>
              <a:t>23</a:t>
            </a:fld>
            <a:endParaRPr lang="en-US"/>
          </a:p>
        </p:txBody>
      </p:sp>
    </p:spTree>
    <p:extLst>
      <p:ext uri="{BB962C8B-B14F-4D97-AF65-F5344CB8AC3E}">
        <p14:creationId xmlns:p14="http://schemas.microsoft.com/office/powerpoint/2010/main" val="38740751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EF02D-F018-0C29-66DC-F8D0129401EA}"/>
              </a:ext>
            </a:extLst>
          </p:cNvPr>
          <p:cNvSpPr>
            <a:spLocks noGrp="1"/>
          </p:cNvSpPr>
          <p:nvPr>
            <p:ph type="title"/>
          </p:nvPr>
        </p:nvSpPr>
        <p:spPr>
          <a:xfrm>
            <a:off x="565150" y="770890"/>
            <a:ext cx="9042715" cy="1268984"/>
          </a:xfrm>
        </p:spPr>
        <p:txBody>
          <a:bodyPr>
            <a:normAutofit fontScale="90000"/>
          </a:bodyPr>
          <a:lstStyle/>
          <a:p>
            <a:r>
              <a:rPr lang="pt-PT" err="1"/>
              <a:t>Feature</a:t>
            </a:r>
            <a:r>
              <a:rPr lang="pt-PT"/>
              <a:t> </a:t>
            </a:r>
            <a:r>
              <a:rPr lang="pt-PT" err="1"/>
              <a:t>Selection</a:t>
            </a:r>
            <a:r>
              <a:rPr lang="pt-PT"/>
              <a:t> – Mutual </a:t>
            </a:r>
            <a:r>
              <a:rPr lang="pt-PT" err="1"/>
              <a:t>Information</a:t>
            </a:r>
          </a:p>
        </p:txBody>
      </p:sp>
      <p:pic>
        <p:nvPicPr>
          <p:cNvPr id="2" name="Picture 1" descr="A screenshot of a computer&#10;&#10;Description automatically generated">
            <a:extLst>
              <a:ext uri="{FF2B5EF4-FFF2-40B4-BE49-F238E27FC236}">
                <a16:creationId xmlns:a16="http://schemas.microsoft.com/office/drawing/2014/main" id="{23E45DDC-DF3C-3DE9-AB9B-7B154F4B5D72}"/>
              </a:ext>
            </a:extLst>
          </p:cNvPr>
          <p:cNvPicPr>
            <a:picLocks noChangeAspect="1"/>
          </p:cNvPicPr>
          <p:nvPr/>
        </p:nvPicPr>
        <p:blipFill>
          <a:blip r:embed="rId2"/>
          <a:stretch>
            <a:fillRect/>
          </a:stretch>
        </p:blipFill>
        <p:spPr>
          <a:xfrm>
            <a:off x="568960" y="2043430"/>
            <a:ext cx="10099040" cy="3787139"/>
          </a:xfrm>
          <a:prstGeom prst="rect">
            <a:avLst/>
          </a:prstGeom>
        </p:spPr>
      </p:pic>
      <p:sp>
        <p:nvSpPr>
          <p:cNvPr id="3" name="Slide Number Placeholder 2">
            <a:extLst>
              <a:ext uri="{FF2B5EF4-FFF2-40B4-BE49-F238E27FC236}">
                <a16:creationId xmlns:a16="http://schemas.microsoft.com/office/drawing/2014/main" id="{933F3955-7D8C-94E6-EF6E-0873284A5546}"/>
              </a:ext>
            </a:extLst>
          </p:cNvPr>
          <p:cNvSpPr>
            <a:spLocks noGrp="1"/>
          </p:cNvSpPr>
          <p:nvPr>
            <p:ph type="sldNum" sz="quarter" idx="12"/>
          </p:nvPr>
        </p:nvSpPr>
        <p:spPr/>
        <p:txBody>
          <a:bodyPr/>
          <a:lstStyle/>
          <a:p>
            <a:fld id="{49ABCAEC-7D34-E549-A96E-FCEDAADBE4B0}" type="slidenum">
              <a:rPr lang="en-US" smtClean="0"/>
              <a:t>24</a:t>
            </a:fld>
            <a:endParaRPr lang="en-US"/>
          </a:p>
        </p:txBody>
      </p:sp>
    </p:spTree>
    <p:extLst>
      <p:ext uri="{BB962C8B-B14F-4D97-AF65-F5344CB8AC3E}">
        <p14:creationId xmlns:p14="http://schemas.microsoft.com/office/powerpoint/2010/main" val="8958277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EF02D-F018-0C29-66DC-F8D0129401EA}"/>
              </a:ext>
            </a:extLst>
          </p:cNvPr>
          <p:cNvSpPr>
            <a:spLocks noGrp="1"/>
          </p:cNvSpPr>
          <p:nvPr>
            <p:ph type="title"/>
          </p:nvPr>
        </p:nvSpPr>
        <p:spPr>
          <a:xfrm>
            <a:off x="565150" y="770890"/>
            <a:ext cx="9042715" cy="1268984"/>
          </a:xfrm>
        </p:spPr>
        <p:txBody>
          <a:bodyPr>
            <a:normAutofit/>
          </a:bodyPr>
          <a:lstStyle/>
          <a:p>
            <a:r>
              <a:rPr lang="pt-PT" err="1"/>
              <a:t>Feature</a:t>
            </a:r>
            <a:r>
              <a:rPr lang="pt-PT"/>
              <a:t> </a:t>
            </a:r>
            <a:r>
              <a:rPr lang="pt-PT" err="1"/>
              <a:t>Selection</a:t>
            </a:r>
            <a:r>
              <a:rPr lang="pt-PT"/>
              <a:t> – </a:t>
            </a:r>
            <a:r>
              <a:rPr lang="pt-PT" err="1"/>
              <a:t>Random</a:t>
            </a:r>
            <a:r>
              <a:rPr lang="pt-PT"/>
              <a:t> </a:t>
            </a:r>
            <a:r>
              <a:rPr lang="pt-PT" err="1"/>
              <a:t>Forest</a:t>
            </a:r>
          </a:p>
        </p:txBody>
      </p:sp>
      <p:pic>
        <p:nvPicPr>
          <p:cNvPr id="2" name="Picture 1" descr="A screenshot of a video game&#10;&#10;Description automatically generated">
            <a:extLst>
              <a:ext uri="{FF2B5EF4-FFF2-40B4-BE49-F238E27FC236}">
                <a16:creationId xmlns:a16="http://schemas.microsoft.com/office/drawing/2014/main" id="{23E45DDC-DF3C-3DE9-AB9B-7B154F4B5D72}"/>
              </a:ext>
            </a:extLst>
          </p:cNvPr>
          <p:cNvPicPr>
            <a:picLocks noChangeAspect="1"/>
          </p:cNvPicPr>
          <p:nvPr/>
        </p:nvPicPr>
        <p:blipFill>
          <a:blip r:embed="rId2"/>
          <a:stretch>
            <a:fillRect/>
          </a:stretch>
        </p:blipFill>
        <p:spPr>
          <a:xfrm>
            <a:off x="568961" y="2043430"/>
            <a:ext cx="10099037" cy="3787139"/>
          </a:xfrm>
          <a:prstGeom prst="rect">
            <a:avLst/>
          </a:prstGeom>
        </p:spPr>
      </p:pic>
      <p:sp>
        <p:nvSpPr>
          <p:cNvPr id="3" name="Slide Number Placeholder 2">
            <a:extLst>
              <a:ext uri="{FF2B5EF4-FFF2-40B4-BE49-F238E27FC236}">
                <a16:creationId xmlns:a16="http://schemas.microsoft.com/office/drawing/2014/main" id="{B432A97F-26E7-C335-AB63-F000A1AD340F}"/>
              </a:ext>
            </a:extLst>
          </p:cNvPr>
          <p:cNvSpPr>
            <a:spLocks noGrp="1"/>
          </p:cNvSpPr>
          <p:nvPr>
            <p:ph type="sldNum" sz="quarter" idx="12"/>
          </p:nvPr>
        </p:nvSpPr>
        <p:spPr/>
        <p:txBody>
          <a:bodyPr/>
          <a:lstStyle/>
          <a:p>
            <a:fld id="{49ABCAEC-7D34-E549-A96E-FCEDAADBE4B0}" type="slidenum">
              <a:rPr lang="en-US" smtClean="0"/>
              <a:t>25</a:t>
            </a:fld>
            <a:endParaRPr lang="en-US"/>
          </a:p>
        </p:txBody>
      </p:sp>
    </p:spTree>
    <p:extLst>
      <p:ext uri="{BB962C8B-B14F-4D97-AF65-F5344CB8AC3E}">
        <p14:creationId xmlns:p14="http://schemas.microsoft.com/office/powerpoint/2010/main" val="8257250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EF02D-F018-0C29-66DC-F8D0129401EA}"/>
              </a:ext>
            </a:extLst>
          </p:cNvPr>
          <p:cNvSpPr>
            <a:spLocks noGrp="1"/>
          </p:cNvSpPr>
          <p:nvPr>
            <p:ph type="title"/>
          </p:nvPr>
        </p:nvSpPr>
        <p:spPr>
          <a:xfrm>
            <a:off x="565150" y="770890"/>
            <a:ext cx="9652315" cy="1268984"/>
          </a:xfrm>
        </p:spPr>
        <p:txBody>
          <a:bodyPr>
            <a:normAutofit/>
          </a:bodyPr>
          <a:lstStyle/>
          <a:p>
            <a:r>
              <a:rPr lang="pt-PT" err="1"/>
              <a:t>Model</a:t>
            </a:r>
            <a:r>
              <a:rPr lang="pt-PT"/>
              <a:t> Performance – Training Set</a:t>
            </a:r>
          </a:p>
        </p:txBody>
      </p:sp>
      <p:pic>
        <p:nvPicPr>
          <p:cNvPr id="2" name="Picture 1" descr="A screenshot of a video game&#10;&#10;Description automatically generated">
            <a:extLst>
              <a:ext uri="{FF2B5EF4-FFF2-40B4-BE49-F238E27FC236}">
                <a16:creationId xmlns:a16="http://schemas.microsoft.com/office/drawing/2014/main" id="{25C49850-C5C5-A02F-EBB7-C135C55D8CF4}"/>
              </a:ext>
            </a:extLst>
          </p:cNvPr>
          <p:cNvPicPr>
            <a:picLocks noChangeAspect="1"/>
          </p:cNvPicPr>
          <p:nvPr/>
        </p:nvPicPr>
        <p:blipFill>
          <a:blip r:embed="rId2"/>
          <a:stretch>
            <a:fillRect/>
          </a:stretch>
        </p:blipFill>
        <p:spPr>
          <a:xfrm>
            <a:off x="436880" y="1529080"/>
            <a:ext cx="7081520" cy="4744720"/>
          </a:xfrm>
          <a:prstGeom prst="rect">
            <a:avLst/>
          </a:prstGeom>
        </p:spPr>
      </p:pic>
      <p:sp>
        <p:nvSpPr>
          <p:cNvPr id="3" name="Slide Number Placeholder 2">
            <a:extLst>
              <a:ext uri="{FF2B5EF4-FFF2-40B4-BE49-F238E27FC236}">
                <a16:creationId xmlns:a16="http://schemas.microsoft.com/office/drawing/2014/main" id="{5CCA8F39-A67A-C5B0-EBEF-F24A0176E265}"/>
              </a:ext>
            </a:extLst>
          </p:cNvPr>
          <p:cNvSpPr>
            <a:spLocks noGrp="1"/>
          </p:cNvSpPr>
          <p:nvPr>
            <p:ph type="sldNum" sz="quarter" idx="12"/>
          </p:nvPr>
        </p:nvSpPr>
        <p:spPr/>
        <p:txBody>
          <a:bodyPr/>
          <a:lstStyle/>
          <a:p>
            <a:fld id="{49ABCAEC-7D34-E549-A96E-FCEDAADBE4B0}" type="slidenum">
              <a:rPr lang="en-US" smtClean="0"/>
              <a:t>26</a:t>
            </a:fld>
            <a:endParaRPr lang="en-US"/>
          </a:p>
        </p:txBody>
      </p:sp>
    </p:spTree>
    <p:extLst>
      <p:ext uri="{BB962C8B-B14F-4D97-AF65-F5344CB8AC3E}">
        <p14:creationId xmlns:p14="http://schemas.microsoft.com/office/powerpoint/2010/main" val="40459923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EF02D-F018-0C29-66DC-F8D0129401EA}"/>
              </a:ext>
            </a:extLst>
          </p:cNvPr>
          <p:cNvSpPr>
            <a:spLocks noGrp="1"/>
          </p:cNvSpPr>
          <p:nvPr>
            <p:ph type="title"/>
          </p:nvPr>
        </p:nvSpPr>
        <p:spPr>
          <a:xfrm>
            <a:off x="565150" y="770890"/>
            <a:ext cx="9652315" cy="1268984"/>
          </a:xfrm>
        </p:spPr>
        <p:txBody>
          <a:bodyPr>
            <a:normAutofit/>
          </a:bodyPr>
          <a:lstStyle/>
          <a:p>
            <a:r>
              <a:rPr lang="pt-PT" err="1"/>
              <a:t>Model</a:t>
            </a:r>
            <a:r>
              <a:rPr lang="pt-PT"/>
              <a:t> Performance – </a:t>
            </a:r>
            <a:r>
              <a:rPr lang="pt-PT" err="1"/>
              <a:t>Test</a:t>
            </a:r>
            <a:r>
              <a:rPr lang="pt-PT"/>
              <a:t> Set</a:t>
            </a:r>
            <a:br>
              <a:rPr lang="en-US" sz="2800"/>
            </a:br>
            <a:r>
              <a:rPr lang="pt-PT" sz="2800" err="1"/>
              <a:t>Logistic</a:t>
            </a:r>
            <a:r>
              <a:rPr lang="pt-PT" sz="2800"/>
              <a:t> </a:t>
            </a:r>
            <a:r>
              <a:rPr lang="pt-PT" sz="2800" err="1"/>
              <a:t>Regression</a:t>
            </a:r>
            <a:endParaRPr lang="pt-PT" sz="2800"/>
          </a:p>
        </p:txBody>
      </p:sp>
      <p:pic>
        <p:nvPicPr>
          <p:cNvPr id="3" name="Picture 2" descr="A screenshot of a computer&#10;&#10;Description automatically generated">
            <a:extLst>
              <a:ext uri="{FF2B5EF4-FFF2-40B4-BE49-F238E27FC236}">
                <a16:creationId xmlns:a16="http://schemas.microsoft.com/office/drawing/2014/main" id="{C9F89CF5-9B56-7B54-B39F-CE73D25177EE}"/>
              </a:ext>
            </a:extLst>
          </p:cNvPr>
          <p:cNvPicPr>
            <a:picLocks noChangeAspect="1"/>
          </p:cNvPicPr>
          <p:nvPr/>
        </p:nvPicPr>
        <p:blipFill>
          <a:blip r:embed="rId2"/>
          <a:stretch>
            <a:fillRect/>
          </a:stretch>
        </p:blipFill>
        <p:spPr>
          <a:xfrm>
            <a:off x="781050" y="2225040"/>
            <a:ext cx="4208780" cy="3362960"/>
          </a:xfrm>
          <a:prstGeom prst="rect">
            <a:avLst/>
          </a:prstGeom>
        </p:spPr>
      </p:pic>
      <p:pic>
        <p:nvPicPr>
          <p:cNvPr id="5" name="Picture 4" descr="A graph of a logistic regression&#10;&#10;Description automatically generated">
            <a:extLst>
              <a:ext uri="{FF2B5EF4-FFF2-40B4-BE49-F238E27FC236}">
                <a16:creationId xmlns:a16="http://schemas.microsoft.com/office/drawing/2014/main" id="{7BDDC504-4999-0EFF-56AB-28D18779C6BD}"/>
              </a:ext>
            </a:extLst>
          </p:cNvPr>
          <p:cNvPicPr>
            <a:picLocks noChangeAspect="1"/>
          </p:cNvPicPr>
          <p:nvPr/>
        </p:nvPicPr>
        <p:blipFill>
          <a:blip r:embed="rId3"/>
          <a:stretch>
            <a:fillRect/>
          </a:stretch>
        </p:blipFill>
        <p:spPr>
          <a:xfrm>
            <a:off x="5547360" y="2153920"/>
            <a:ext cx="4673600" cy="3505200"/>
          </a:xfrm>
          <a:prstGeom prst="rect">
            <a:avLst/>
          </a:prstGeom>
        </p:spPr>
      </p:pic>
      <p:sp>
        <p:nvSpPr>
          <p:cNvPr id="2" name="Slide Number Placeholder 1">
            <a:extLst>
              <a:ext uri="{FF2B5EF4-FFF2-40B4-BE49-F238E27FC236}">
                <a16:creationId xmlns:a16="http://schemas.microsoft.com/office/drawing/2014/main" id="{5C7CCA42-5E89-ED4C-12DF-0361DEB9F405}"/>
              </a:ext>
            </a:extLst>
          </p:cNvPr>
          <p:cNvSpPr>
            <a:spLocks noGrp="1"/>
          </p:cNvSpPr>
          <p:nvPr>
            <p:ph type="sldNum" sz="quarter" idx="12"/>
          </p:nvPr>
        </p:nvSpPr>
        <p:spPr/>
        <p:txBody>
          <a:bodyPr/>
          <a:lstStyle/>
          <a:p>
            <a:fld id="{49ABCAEC-7D34-E549-A96E-FCEDAADBE4B0}" type="slidenum">
              <a:rPr lang="en-US" smtClean="0"/>
              <a:t>27</a:t>
            </a:fld>
            <a:endParaRPr lang="en-US"/>
          </a:p>
        </p:txBody>
      </p:sp>
    </p:spTree>
    <p:extLst>
      <p:ext uri="{BB962C8B-B14F-4D97-AF65-F5344CB8AC3E}">
        <p14:creationId xmlns:p14="http://schemas.microsoft.com/office/powerpoint/2010/main" val="19283972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EF02D-F018-0C29-66DC-F8D0129401EA}"/>
              </a:ext>
            </a:extLst>
          </p:cNvPr>
          <p:cNvSpPr>
            <a:spLocks noGrp="1"/>
          </p:cNvSpPr>
          <p:nvPr>
            <p:ph type="title"/>
          </p:nvPr>
        </p:nvSpPr>
        <p:spPr>
          <a:xfrm>
            <a:off x="565150" y="770890"/>
            <a:ext cx="9652315" cy="1268984"/>
          </a:xfrm>
        </p:spPr>
        <p:txBody>
          <a:bodyPr>
            <a:normAutofit/>
          </a:bodyPr>
          <a:lstStyle/>
          <a:p>
            <a:r>
              <a:rPr lang="pt-PT" err="1"/>
              <a:t>Model</a:t>
            </a:r>
            <a:r>
              <a:rPr lang="pt-PT"/>
              <a:t> Performance – </a:t>
            </a:r>
            <a:r>
              <a:rPr lang="pt-PT" err="1"/>
              <a:t>Test</a:t>
            </a:r>
            <a:r>
              <a:rPr lang="pt-PT"/>
              <a:t> Set</a:t>
            </a:r>
            <a:br>
              <a:rPr lang="en-US" sz="2800"/>
            </a:br>
            <a:r>
              <a:rPr lang="pt-PT" sz="2800" err="1"/>
              <a:t>Random</a:t>
            </a:r>
            <a:r>
              <a:rPr lang="pt-PT" sz="2800"/>
              <a:t> </a:t>
            </a:r>
            <a:r>
              <a:rPr lang="pt-PT" sz="2800" err="1"/>
              <a:t>Forest</a:t>
            </a:r>
          </a:p>
        </p:txBody>
      </p:sp>
      <p:pic>
        <p:nvPicPr>
          <p:cNvPr id="3" name="Picture 2" descr="A screenshot of a computer&#10;&#10;Description automatically generated">
            <a:extLst>
              <a:ext uri="{FF2B5EF4-FFF2-40B4-BE49-F238E27FC236}">
                <a16:creationId xmlns:a16="http://schemas.microsoft.com/office/drawing/2014/main" id="{C9F89CF5-9B56-7B54-B39F-CE73D25177EE}"/>
              </a:ext>
            </a:extLst>
          </p:cNvPr>
          <p:cNvPicPr>
            <a:picLocks noChangeAspect="1"/>
          </p:cNvPicPr>
          <p:nvPr/>
        </p:nvPicPr>
        <p:blipFill>
          <a:blip r:embed="rId2"/>
          <a:stretch>
            <a:fillRect/>
          </a:stretch>
        </p:blipFill>
        <p:spPr>
          <a:xfrm>
            <a:off x="783590" y="2225040"/>
            <a:ext cx="4203700" cy="3362960"/>
          </a:xfrm>
          <a:prstGeom prst="rect">
            <a:avLst/>
          </a:prstGeom>
        </p:spPr>
      </p:pic>
      <p:pic>
        <p:nvPicPr>
          <p:cNvPr id="5" name="Picture 4">
            <a:extLst>
              <a:ext uri="{FF2B5EF4-FFF2-40B4-BE49-F238E27FC236}">
                <a16:creationId xmlns:a16="http://schemas.microsoft.com/office/drawing/2014/main" id="{7BDDC504-4999-0EFF-56AB-28D18779C6BD}"/>
              </a:ext>
            </a:extLst>
          </p:cNvPr>
          <p:cNvPicPr>
            <a:picLocks noChangeAspect="1"/>
          </p:cNvPicPr>
          <p:nvPr/>
        </p:nvPicPr>
        <p:blipFill>
          <a:blip r:embed="rId3"/>
          <a:stretch>
            <a:fillRect/>
          </a:stretch>
        </p:blipFill>
        <p:spPr>
          <a:xfrm>
            <a:off x="5547360" y="2153920"/>
            <a:ext cx="4673600" cy="3505199"/>
          </a:xfrm>
          <a:prstGeom prst="rect">
            <a:avLst/>
          </a:prstGeom>
        </p:spPr>
      </p:pic>
      <p:sp>
        <p:nvSpPr>
          <p:cNvPr id="2" name="Slide Number Placeholder 1">
            <a:extLst>
              <a:ext uri="{FF2B5EF4-FFF2-40B4-BE49-F238E27FC236}">
                <a16:creationId xmlns:a16="http://schemas.microsoft.com/office/drawing/2014/main" id="{84B30686-81DC-1E82-AAD0-B49D10954616}"/>
              </a:ext>
            </a:extLst>
          </p:cNvPr>
          <p:cNvSpPr>
            <a:spLocks noGrp="1"/>
          </p:cNvSpPr>
          <p:nvPr>
            <p:ph type="sldNum" sz="quarter" idx="12"/>
          </p:nvPr>
        </p:nvSpPr>
        <p:spPr/>
        <p:txBody>
          <a:bodyPr/>
          <a:lstStyle/>
          <a:p>
            <a:fld id="{49ABCAEC-7D34-E549-A96E-FCEDAADBE4B0}" type="slidenum">
              <a:rPr lang="en-US" smtClean="0"/>
              <a:t>28</a:t>
            </a:fld>
            <a:endParaRPr lang="en-US"/>
          </a:p>
        </p:txBody>
      </p:sp>
    </p:spTree>
    <p:extLst>
      <p:ext uri="{BB962C8B-B14F-4D97-AF65-F5344CB8AC3E}">
        <p14:creationId xmlns:p14="http://schemas.microsoft.com/office/powerpoint/2010/main" val="11941022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EF02D-F018-0C29-66DC-F8D0129401EA}"/>
              </a:ext>
            </a:extLst>
          </p:cNvPr>
          <p:cNvSpPr>
            <a:spLocks noGrp="1"/>
          </p:cNvSpPr>
          <p:nvPr>
            <p:ph type="title"/>
          </p:nvPr>
        </p:nvSpPr>
        <p:spPr>
          <a:xfrm>
            <a:off x="565150" y="770890"/>
            <a:ext cx="9652315" cy="1268984"/>
          </a:xfrm>
        </p:spPr>
        <p:txBody>
          <a:bodyPr>
            <a:normAutofit/>
          </a:bodyPr>
          <a:lstStyle/>
          <a:p>
            <a:r>
              <a:rPr lang="pt-PT" err="1"/>
              <a:t>Model</a:t>
            </a:r>
            <a:r>
              <a:rPr lang="pt-PT"/>
              <a:t> Performance – </a:t>
            </a:r>
            <a:r>
              <a:rPr lang="pt-PT" err="1"/>
              <a:t>Test</a:t>
            </a:r>
            <a:r>
              <a:rPr lang="pt-PT"/>
              <a:t> Set</a:t>
            </a:r>
            <a:br>
              <a:rPr lang="en-US" sz="2800"/>
            </a:br>
            <a:r>
              <a:rPr lang="pt-PT" sz="2800" err="1"/>
              <a:t>XGBoost</a:t>
            </a:r>
          </a:p>
        </p:txBody>
      </p:sp>
      <p:pic>
        <p:nvPicPr>
          <p:cNvPr id="5" name="Picture 4">
            <a:extLst>
              <a:ext uri="{FF2B5EF4-FFF2-40B4-BE49-F238E27FC236}">
                <a16:creationId xmlns:a16="http://schemas.microsoft.com/office/drawing/2014/main" id="{7BDDC504-4999-0EFF-56AB-28D18779C6BD}"/>
              </a:ext>
            </a:extLst>
          </p:cNvPr>
          <p:cNvPicPr>
            <a:picLocks noChangeAspect="1"/>
          </p:cNvPicPr>
          <p:nvPr/>
        </p:nvPicPr>
        <p:blipFill>
          <a:blip r:embed="rId2"/>
          <a:stretch>
            <a:fillRect/>
          </a:stretch>
        </p:blipFill>
        <p:spPr>
          <a:xfrm>
            <a:off x="5693410" y="2263458"/>
            <a:ext cx="4381500" cy="3286124"/>
          </a:xfrm>
          <a:prstGeom prst="rect">
            <a:avLst/>
          </a:prstGeom>
        </p:spPr>
      </p:pic>
      <p:sp>
        <p:nvSpPr>
          <p:cNvPr id="2" name="Slide Number Placeholder 1">
            <a:extLst>
              <a:ext uri="{FF2B5EF4-FFF2-40B4-BE49-F238E27FC236}">
                <a16:creationId xmlns:a16="http://schemas.microsoft.com/office/drawing/2014/main" id="{4D4C524D-BD43-C902-9C52-656A6D2D1272}"/>
              </a:ext>
            </a:extLst>
          </p:cNvPr>
          <p:cNvSpPr>
            <a:spLocks noGrp="1"/>
          </p:cNvSpPr>
          <p:nvPr>
            <p:ph type="sldNum" sz="quarter" idx="12"/>
          </p:nvPr>
        </p:nvSpPr>
        <p:spPr/>
        <p:txBody>
          <a:bodyPr/>
          <a:lstStyle/>
          <a:p>
            <a:fld id="{49ABCAEC-7D34-E549-A96E-FCEDAADBE4B0}" type="slidenum">
              <a:rPr lang="en-US" smtClean="0"/>
              <a:t>29</a:t>
            </a:fld>
            <a:endParaRPr lang="en-US"/>
          </a:p>
        </p:txBody>
      </p:sp>
      <p:pic>
        <p:nvPicPr>
          <p:cNvPr id="7" name="Picture 6">
            <a:extLst>
              <a:ext uri="{FF2B5EF4-FFF2-40B4-BE49-F238E27FC236}">
                <a16:creationId xmlns:a16="http://schemas.microsoft.com/office/drawing/2014/main" id="{8B760F6D-A1B7-4160-211B-52C201F4BCEF}"/>
              </a:ext>
            </a:extLst>
          </p:cNvPr>
          <p:cNvPicPr>
            <a:picLocks noChangeAspect="1"/>
          </p:cNvPicPr>
          <p:nvPr/>
        </p:nvPicPr>
        <p:blipFill>
          <a:blip r:embed="rId3"/>
          <a:stretch>
            <a:fillRect/>
          </a:stretch>
        </p:blipFill>
        <p:spPr>
          <a:xfrm>
            <a:off x="1035705" y="2192020"/>
            <a:ext cx="3881034" cy="3429000"/>
          </a:xfrm>
          <a:prstGeom prst="rect">
            <a:avLst/>
          </a:prstGeom>
        </p:spPr>
      </p:pic>
    </p:spTree>
    <p:extLst>
      <p:ext uri="{BB962C8B-B14F-4D97-AF65-F5344CB8AC3E}">
        <p14:creationId xmlns:p14="http://schemas.microsoft.com/office/powerpoint/2010/main" val="2154395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7">
            <a:extLst>
              <a:ext uri="{FF2B5EF4-FFF2-40B4-BE49-F238E27FC236}">
                <a16:creationId xmlns:a16="http://schemas.microsoft.com/office/drawing/2014/main" id="{D8023373-EE3D-862E-E7EE-CE61893FE606}"/>
              </a:ext>
            </a:extLst>
          </p:cNvPr>
          <p:cNvSpPr txBox="1">
            <a:spLocks/>
          </p:cNvSpPr>
          <p:nvPr/>
        </p:nvSpPr>
        <p:spPr>
          <a:xfrm>
            <a:off x="557295" y="823570"/>
            <a:ext cx="10515599" cy="5412130"/>
          </a:xfrm>
          <a:prstGeom prst="rect">
            <a:avLst/>
          </a:prstGeom>
        </p:spPr>
        <p:txBody>
          <a:bodyPr vert="horz" lIns="91440" tIns="45720" rIns="91440" bIns="45720" rtlCol="0" anchor="t">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3B9EB1">
                    <a:lumMod val="75000"/>
                  </a:srgbClr>
                </a:solidFill>
                <a:effectLst/>
                <a:uLnTx/>
                <a:uFillTx/>
                <a:latin typeface="Tenorite"/>
              </a:rPr>
              <a:t>Attrition rates are quite high for the BI4ALL Employees</a:t>
            </a:r>
          </a:p>
          <a:p>
            <a:pPr marL="228600" marR="0" lvl="0" indent="-228600" algn="just"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rPr>
              <a:t>Current attrition rate is 16% which is higher when compared to IT industry rates. </a:t>
            </a:r>
          </a:p>
          <a:p>
            <a:pPr marL="228600" marR="0" lvl="0" indent="-228600" algn="just"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rPr>
              <a:t>Employees stay an average of 7 years with the company; Of the employees who left, 59.5% of employees have resigned within the first 5 years.</a:t>
            </a:r>
          </a:p>
          <a:p>
            <a:pPr marL="228600" marR="0" lvl="0" indent="-228600" algn="just"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rPr>
              <a:t>The cost of 1% increase in attrition rate is estimated to be $30,000 USD.</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3B9EB1">
                    <a:lumMod val="75000"/>
                  </a:srgbClr>
                </a:solidFill>
                <a:effectLst/>
                <a:uLnTx/>
                <a:uFillTx/>
                <a:latin typeface="Tenorite"/>
              </a:rPr>
              <a:t>Understanding the team profile: Demographics, Lifestyle and Career development traits of employees</a:t>
            </a:r>
          </a:p>
          <a:p>
            <a:pPr marL="228600" marR="0" lvl="0" indent="-228600" algn="just"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ea typeface="+mj-lt"/>
                <a:cs typeface="+mj-lt"/>
              </a:rPr>
              <a:t>The average employee is a Male, Married and 37 years old. </a:t>
            </a:r>
          </a:p>
          <a:p>
            <a:pPr algn="just">
              <a:spcBef>
                <a:spcPts val="0"/>
              </a:spcBef>
              <a:defRPr/>
            </a:pPr>
            <a:r>
              <a:rPr lang="en-US" sz="1300">
                <a:solidFill>
                  <a:sysClr val="windowText" lastClr="000000">
                    <a:lumMod val="75000"/>
                    <a:lumOff val="25000"/>
                  </a:sysClr>
                </a:solidFill>
                <a:latin typeface="Tenorite"/>
                <a:ea typeface="+mj-lt"/>
                <a:cs typeface="+mj-lt"/>
              </a:rPr>
              <a:t>Regarding Lifestyle, most employees do not do overtime, travel rarely on business, live close to the office and consider having a Good/Excellent work-life balance. </a:t>
            </a:r>
            <a:endParaRPr lang="pt-PT" sz="1300">
              <a:solidFill>
                <a:sysClr val="windowText" lastClr="000000">
                  <a:lumMod val="75000"/>
                  <a:lumOff val="25000"/>
                </a:sysClr>
              </a:solidFill>
              <a:latin typeface="Tenorite"/>
              <a:ea typeface="+mj-lt"/>
              <a:cs typeface="+mj-lt"/>
            </a:endParaRPr>
          </a:p>
          <a:p>
            <a:pPr marL="228600" marR="0" lvl="0" indent="-228600" algn="just"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ea typeface="+mj-lt"/>
                <a:cs typeface="+mj-lt"/>
              </a:rPr>
              <a:t>In terms of Career development, 69% of the company</a:t>
            </a:r>
            <a:r>
              <a:rPr lang="en-US" sz="1300">
                <a:solidFill>
                  <a:sysClr val="windowText" lastClr="000000">
                    <a:lumMod val="75000"/>
                    <a:lumOff val="25000"/>
                  </a:sysClr>
                </a:solidFill>
                <a:latin typeface="Tenorite"/>
                <a:ea typeface="+mj-lt"/>
                <a:cs typeface="+mj-lt"/>
              </a:rPr>
              <a:t>’s employees feel involved in their respective roles, while 61% display high to very high levels of job satisfaction</a:t>
            </a:r>
            <a:r>
              <a:rPr lang="pt-PT" sz="1300">
                <a:solidFill>
                  <a:sysClr val="windowText" lastClr="000000">
                    <a:lumMod val="75000"/>
                    <a:lumOff val="25000"/>
                  </a:sysClr>
                </a:solidFill>
                <a:latin typeface="Tenorite"/>
                <a:ea typeface="+mj-lt"/>
                <a:cs typeface="+mj-lt"/>
              </a:rPr>
              <a:t>.</a:t>
            </a:r>
            <a:endParaRPr kumimoji="0" lang="pt-PT" sz="1300" b="0" i="0" u="none" strike="noStrike" kern="1200" cap="none" spc="0" normalizeH="0" baseline="0" noProof="0">
              <a:ln>
                <a:noFill/>
              </a:ln>
              <a:solidFill>
                <a:sysClr val="windowText" lastClr="000000">
                  <a:lumMod val="75000"/>
                  <a:lumOff val="25000"/>
                </a:sysClr>
              </a:solidFill>
              <a:effectLst/>
              <a:uLnTx/>
              <a:uFillTx/>
              <a:latin typeface="Tenorite"/>
            </a:endParaRP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3B9EB1">
                    <a:lumMod val="75000"/>
                  </a:srgbClr>
                </a:solidFill>
                <a:effectLst/>
                <a:uLnTx/>
                <a:uFillTx/>
                <a:latin typeface="Tenorite"/>
              </a:rPr>
              <a:t>Analyzing the main factors that contribute to the employee’s decision</a:t>
            </a:r>
            <a:r>
              <a:rPr kumimoji="0" lang="pt-PT" sz="1500" b="0" i="0" u="none" strike="noStrike" kern="1200" cap="none" spc="0" normalizeH="0" baseline="0" noProof="0">
                <a:ln>
                  <a:noFill/>
                </a:ln>
                <a:solidFill>
                  <a:srgbClr val="3B9EB1">
                    <a:lumMod val="75000"/>
                  </a:srgbClr>
                </a:solidFill>
                <a:effectLst/>
                <a:uLnTx/>
                <a:uFillTx/>
                <a:latin typeface="Tenorite"/>
              </a:rPr>
              <a:t> to</a:t>
            </a:r>
            <a:r>
              <a:rPr kumimoji="0" lang="en-US" sz="1500" b="0" i="0" u="none" strike="noStrike" kern="1200" cap="none" spc="0" normalizeH="0" baseline="0" noProof="0">
                <a:ln>
                  <a:noFill/>
                </a:ln>
                <a:solidFill>
                  <a:srgbClr val="3B9EB1">
                    <a:lumMod val="75000"/>
                  </a:srgbClr>
                </a:solidFill>
                <a:effectLst/>
                <a:uLnTx/>
                <a:uFillTx/>
                <a:latin typeface="Tenorite"/>
              </a:rPr>
              <a:t> leave the company shows three main insights:</a:t>
            </a:r>
          </a:p>
          <a:p>
            <a:pPr marL="228600" marR="0" lvl="0" indent="-228600" algn="just"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ea typeface="+mj-lt"/>
                <a:cs typeface="+mj-lt"/>
              </a:rPr>
              <a:t>Monthly Income, Age and Marital Status seem to describe a younger employee type who is likely to change in the first years of their career.</a:t>
            </a:r>
          </a:p>
          <a:p>
            <a:pPr marL="228600" marR="0" lvl="0" indent="-228600" algn="just"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ea typeface="+mj-lt"/>
                <a:cs typeface="+mj-lt"/>
              </a:rPr>
              <a:t>Monthly Income, Hourly Rate, Daily Rate and Stock Option level demonstrate the importance of compensation in the attrition rate levels.</a:t>
            </a:r>
          </a:p>
          <a:p>
            <a:pPr marL="228600" marR="0" lvl="0" indent="-228600" algn="just"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ea typeface="+mj-lt"/>
                <a:cs typeface="+mj-lt"/>
              </a:rPr>
              <a:t>Finally, Business Travel, Over Time and Distance from Home reflect the work-life balance axis that influence the decision to keep with the company or leave.</a:t>
            </a:r>
          </a:p>
          <a:p>
            <a:pPr marL="0" marR="0" lvl="0" indent="0" algn="just"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kumimoji="0" lang="en-US" sz="1500" b="0" i="0" u="none" kern="1200" cap="none" spc="0" normalizeH="0" baseline="0" noProof="0">
                <a:ln>
                  <a:noFill/>
                </a:ln>
                <a:solidFill>
                  <a:srgbClr val="3B9EB1">
                    <a:lumMod val="75000"/>
                  </a:srgbClr>
                </a:solidFill>
                <a:effectLst/>
                <a:uLnTx/>
                <a:uFillTx/>
                <a:latin typeface="Tenorite"/>
              </a:rPr>
              <a:t>Developing and deploying a model that predicts Attrition</a:t>
            </a:r>
          </a:p>
          <a:p>
            <a:pPr algn="just">
              <a:spcBef>
                <a:spcPts val="0"/>
              </a:spcBef>
              <a:defRPr/>
            </a:pPr>
            <a:r>
              <a:rPr lang="en-US" sz="1300">
                <a:solidFill>
                  <a:sysClr val="windowText" lastClr="000000">
                    <a:lumMod val="75000"/>
                    <a:lumOff val="25000"/>
                  </a:sysClr>
                </a:solidFill>
                <a:latin typeface="Tenorite"/>
                <a:ea typeface="+mj-lt"/>
                <a:cs typeface="+mj-lt"/>
              </a:rPr>
              <a:t>A high Recall was prioritized, but without disregarding Precision and F1-Score. The higher the Recall, the lower the number of False Negatives – Employees that will leave when the company thinks they will stay.</a:t>
            </a:r>
          </a:p>
          <a:p>
            <a:pPr algn="just">
              <a:spcBef>
                <a:spcPts val="0"/>
              </a:spcBef>
              <a:defRPr/>
            </a:pPr>
            <a:r>
              <a:rPr lang="en-US" sz="1300">
                <a:solidFill>
                  <a:sysClr val="windowText" lastClr="000000">
                    <a:lumMod val="75000"/>
                    <a:lumOff val="25000"/>
                  </a:sysClr>
                </a:solidFill>
                <a:latin typeface="Tenorite"/>
                <a:ea typeface="+mj-lt"/>
                <a:cs typeface="+mj-lt"/>
              </a:rPr>
              <a:t>Four supervised models were tested (Logistic Regression, Support Vector Machine, </a:t>
            </a:r>
            <a:r>
              <a:rPr lang="en-US" sz="1300" err="1">
                <a:solidFill>
                  <a:sysClr val="windowText" lastClr="000000">
                    <a:lumMod val="75000"/>
                    <a:lumOff val="25000"/>
                  </a:sysClr>
                </a:solidFill>
                <a:latin typeface="Tenorite"/>
                <a:ea typeface="+mj-lt"/>
                <a:cs typeface="+mj-lt"/>
              </a:rPr>
              <a:t>XGBoost</a:t>
            </a:r>
            <a:r>
              <a:rPr lang="en-US" sz="1300">
                <a:solidFill>
                  <a:sysClr val="windowText" lastClr="000000">
                    <a:lumMod val="75000"/>
                    <a:lumOff val="25000"/>
                  </a:sysClr>
                </a:solidFill>
                <a:latin typeface="Tenorite"/>
                <a:ea typeface="+mj-lt"/>
                <a:cs typeface="+mj-lt"/>
              </a:rPr>
              <a:t>, and Random Forest), with Logistic Regression having the best performance.</a:t>
            </a:r>
          </a:p>
          <a:p>
            <a:pPr algn="just">
              <a:spcBef>
                <a:spcPts val="0"/>
              </a:spcBef>
              <a:defRPr/>
            </a:pPr>
            <a:r>
              <a:rPr lang="en-US" sz="1300">
                <a:solidFill>
                  <a:sysClr val="windowText" lastClr="000000">
                    <a:lumMod val="75000"/>
                    <a:lumOff val="25000"/>
                  </a:sysClr>
                </a:solidFill>
                <a:latin typeface="Tenorite"/>
                <a:ea typeface="+mj-lt"/>
                <a:cs typeface="+mj-lt"/>
              </a:rPr>
              <a:t>In a Test set of 294 employees, this model was able to predict 28 of the 39 cases of Attrition, giving it a Recall of 0.72, with only 11 cases of false negatives.</a:t>
            </a:r>
          </a:p>
          <a:p>
            <a:pPr marL="0" marR="0" lvl="0" indent="0" algn="just"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3B9EB1">
                    <a:lumMod val="75000"/>
                  </a:srgbClr>
                </a:solidFill>
                <a:effectLst/>
                <a:uLnTx/>
                <a:uFillTx/>
                <a:latin typeface="Tenorite"/>
              </a:rPr>
              <a:t>Employee retention is significantly impacted by talent management strategies implemented by companies. Based on the factors that influence the attrition rate, we propose several strategic employee retention methods:</a:t>
            </a:r>
            <a:endParaRPr kumimoji="0" lang="pt-PT" sz="1500" b="0" i="0" u="none" strike="noStrike" kern="1200" cap="none" spc="0" normalizeH="0" baseline="0" noProof="0">
              <a:ln>
                <a:noFill/>
              </a:ln>
              <a:solidFill>
                <a:srgbClr val="3B9EB1">
                  <a:lumMod val="75000"/>
                </a:srgbClr>
              </a:solidFill>
              <a:effectLst/>
              <a:uLnTx/>
              <a:uFillTx/>
              <a:latin typeface="Tenorite"/>
            </a:endParaRPr>
          </a:p>
          <a:p>
            <a:pPr marL="0" indent="0" algn="just">
              <a:spcBef>
                <a:spcPts val="300"/>
              </a:spcBef>
              <a:buNone/>
              <a:defRPr/>
            </a:pPr>
            <a:r>
              <a:rPr lang="en-US" sz="1300">
                <a:solidFill>
                  <a:sysClr val="windowText" lastClr="000000">
                    <a:lumMod val="75000"/>
                    <a:lumOff val="25000"/>
                  </a:sysClr>
                </a:solidFill>
                <a:latin typeface="Tenorite"/>
              </a:rPr>
              <a:t>Targeting the Younger employee profile most likely to quit in the first years of their career:</a:t>
            </a:r>
          </a:p>
          <a:p>
            <a:pPr algn="just">
              <a:spcBef>
                <a:spcPts val="0"/>
              </a:spcBef>
              <a:defRPr/>
            </a:pPr>
            <a:r>
              <a:rPr lang="en-US" sz="1300">
                <a:solidFill>
                  <a:sysClr val="windowText" lastClr="000000">
                    <a:lumMod val="75000"/>
                    <a:lumOff val="25000"/>
                  </a:sysClr>
                </a:solidFill>
                <a:latin typeface="Tenorite"/>
              </a:rPr>
              <a:t>Training and Development: identify training needs and provide appropriate training and defining</a:t>
            </a:r>
            <a:r>
              <a:rPr lang="pt-PT" sz="1300">
                <a:solidFill>
                  <a:sysClr val="windowText" lastClr="000000">
                    <a:lumMod val="75000"/>
                    <a:lumOff val="25000"/>
                  </a:sysClr>
                </a:solidFill>
                <a:latin typeface="Tenorite"/>
              </a:rPr>
              <a:t> </a:t>
            </a:r>
            <a:r>
              <a:rPr lang="en-US" sz="1300">
                <a:solidFill>
                  <a:sysClr val="windowText" lastClr="000000">
                    <a:lumMod val="75000"/>
                    <a:lumOff val="25000"/>
                  </a:sysClr>
                </a:solidFill>
                <a:latin typeface="Tenorite"/>
              </a:rPr>
              <a:t>Young Talent programs, targeting the younger employee profile</a:t>
            </a:r>
            <a:r>
              <a:rPr lang="pt-PT" sz="1300">
                <a:solidFill>
                  <a:sysClr val="windowText" lastClr="000000">
                    <a:lumMod val="75000"/>
                    <a:lumOff val="25000"/>
                  </a:sysClr>
                </a:solidFill>
                <a:latin typeface="Tenorite"/>
              </a:rPr>
              <a:t>.</a:t>
            </a:r>
          </a:p>
          <a:p>
            <a:pPr algn="just">
              <a:spcBef>
                <a:spcPts val="0"/>
              </a:spcBef>
              <a:defRPr/>
            </a:pPr>
            <a:r>
              <a:rPr lang="en-US" sz="1300">
                <a:solidFill>
                  <a:sysClr val="windowText" lastClr="000000">
                    <a:lumMod val="75000"/>
                    <a:lumOff val="25000"/>
                  </a:sysClr>
                </a:solidFill>
                <a:latin typeface="Tenorite"/>
              </a:rPr>
              <a:t>Career development plan: define career development plans to provide possible career trajectories. Identify high-potentials that could assume future leadership roles.</a:t>
            </a:r>
          </a:p>
          <a:p>
            <a:pPr marL="0" indent="0" algn="just">
              <a:spcBef>
                <a:spcPts val="300"/>
              </a:spcBef>
              <a:buNone/>
              <a:defRPr/>
            </a:pPr>
            <a:r>
              <a:rPr lang="en-US" sz="1300">
                <a:solidFill>
                  <a:sysClr val="windowText" lastClr="000000">
                    <a:lumMod val="75000"/>
                    <a:lumOff val="25000"/>
                  </a:sysClr>
                </a:solidFill>
                <a:latin typeface="Tenorite"/>
              </a:rPr>
              <a:t>Offering competitive base salaries or hourly wages is an essential factor in retaining employees</a:t>
            </a:r>
          </a:p>
          <a:p>
            <a:pPr algn="just">
              <a:spcBef>
                <a:spcPts val="0"/>
              </a:spcBef>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rPr>
              <a:t>Compensation: provide attractive compensation packages to increase overall job satisfaction. </a:t>
            </a:r>
          </a:p>
          <a:p>
            <a:pPr algn="just">
              <a:spcBef>
                <a:spcPts val="0"/>
              </a:spcBef>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rPr>
              <a:t>Benefits: offer benefits such as company provided-lunches, on-site parking, free day on employee birthday and flexible work schedules.</a:t>
            </a:r>
          </a:p>
          <a:p>
            <a:pPr marL="0" indent="0" algn="just">
              <a:spcBef>
                <a:spcPts val="300"/>
              </a:spcBef>
              <a:buNone/>
              <a:defRPr/>
            </a:pPr>
            <a:r>
              <a:rPr lang="en-US" sz="1300">
                <a:solidFill>
                  <a:sysClr val="windowText" lastClr="000000">
                    <a:lumMod val="75000"/>
                    <a:lumOff val="25000"/>
                  </a:sysClr>
                </a:solidFill>
                <a:latin typeface="Tenorite"/>
              </a:rPr>
              <a:t>Employee retention is greatly influenced by initiatives that supports a good work-life balance:</a:t>
            </a:r>
          </a:p>
          <a:p>
            <a:pPr algn="just">
              <a:spcBef>
                <a:spcPts val="0"/>
              </a:spcBef>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rPr>
              <a:t>Work life Balance: implement working from home and flexi-time, allowing employees to balance their personal and professional life. </a:t>
            </a:r>
          </a:p>
          <a:p>
            <a:pPr algn="just">
              <a:spcBef>
                <a:spcPts val="0"/>
              </a:spcBef>
              <a:defRPr/>
            </a:pPr>
            <a:r>
              <a:rPr kumimoji="0" lang="en-US" sz="1300" b="0" i="0" u="none" strike="noStrike" kern="1200" cap="none" spc="0" normalizeH="0" baseline="0" noProof="0">
                <a:ln>
                  <a:noFill/>
                </a:ln>
                <a:solidFill>
                  <a:sysClr val="windowText" lastClr="000000">
                    <a:lumMod val="75000"/>
                    <a:lumOff val="25000"/>
                  </a:sysClr>
                </a:solidFill>
                <a:effectLst/>
                <a:uLnTx/>
                <a:uFillTx/>
                <a:latin typeface="Tenorite"/>
              </a:rPr>
              <a:t>Positive Work Environment: Build a positive workplace culture, which values flexibility, support personal responsibilities and encourages a good work-life balance. Foster open communication, collaboration and respect among employees. </a:t>
            </a:r>
          </a:p>
          <a:p>
            <a:pPr marL="0" marR="0" lvl="0" indent="0" algn="just"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pt-PT" sz="1200" b="0" i="0" u="none" strike="noStrike" kern="1200" cap="none" spc="0" normalizeH="0" baseline="0" noProof="0">
              <a:ln>
                <a:noFill/>
              </a:ln>
              <a:solidFill>
                <a:sysClr val="windowText" lastClr="000000">
                  <a:lumMod val="75000"/>
                  <a:lumOff val="25000"/>
                </a:sysClr>
              </a:solidFill>
              <a:effectLst/>
              <a:uLnTx/>
              <a:uFillTx/>
              <a:latin typeface="Tenorite"/>
            </a:endParaRPr>
          </a:p>
        </p:txBody>
      </p:sp>
      <p:sp>
        <p:nvSpPr>
          <p:cNvPr id="11" name="Title 2">
            <a:extLst>
              <a:ext uri="{FF2B5EF4-FFF2-40B4-BE49-F238E27FC236}">
                <a16:creationId xmlns:a16="http://schemas.microsoft.com/office/drawing/2014/main" id="{9ED99FB4-2BDF-1A61-C33D-C61E547A6C06}"/>
              </a:ext>
            </a:extLst>
          </p:cNvPr>
          <p:cNvSpPr txBox="1">
            <a:spLocks/>
          </p:cNvSpPr>
          <p:nvPr/>
        </p:nvSpPr>
        <p:spPr>
          <a:xfrm>
            <a:off x="557295" y="153251"/>
            <a:ext cx="733583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a:ln>
                  <a:noFill/>
                </a:ln>
                <a:solidFill>
                  <a:srgbClr val="000000"/>
                </a:solidFill>
                <a:effectLst/>
                <a:uLnTx/>
                <a:uFillTx/>
                <a:latin typeface="Neue Haas Grotesk Text Pro"/>
                <a:ea typeface="+mj-ea"/>
                <a:cs typeface="+mj-cs"/>
              </a:rPr>
              <a:t>Executive Summary</a:t>
            </a:r>
          </a:p>
        </p:txBody>
      </p:sp>
      <p:sp>
        <p:nvSpPr>
          <p:cNvPr id="2" name="Slide Number Placeholder 1">
            <a:extLst>
              <a:ext uri="{FF2B5EF4-FFF2-40B4-BE49-F238E27FC236}">
                <a16:creationId xmlns:a16="http://schemas.microsoft.com/office/drawing/2014/main" id="{AAA79C96-B3D9-AEBC-02EE-3769B06ACD8A}"/>
              </a:ext>
            </a:extLst>
          </p:cNvPr>
          <p:cNvSpPr>
            <a:spLocks noGrp="1"/>
          </p:cNvSpPr>
          <p:nvPr>
            <p:ph type="sldNum" sz="quarter" idx="12"/>
          </p:nvPr>
        </p:nvSpPr>
        <p:spPr/>
        <p:txBody>
          <a:bodyPr/>
          <a:lstStyle/>
          <a:p>
            <a:fld id="{49ABCAEC-7D34-E549-A96E-FCEDAADBE4B0}" type="slidenum">
              <a:rPr lang="en-US" smtClean="0"/>
              <a:t>3</a:t>
            </a:fld>
            <a:endParaRPr lang="en-US"/>
          </a:p>
        </p:txBody>
      </p:sp>
    </p:spTree>
    <p:extLst>
      <p:ext uri="{BB962C8B-B14F-4D97-AF65-F5344CB8AC3E}">
        <p14:creationId xmlns:p14="http://schemas.microsoft.com/office/powerpoint/2010/main" val="29975271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8EF02D-F018-0C29-66DC-F8D0129401EA}"/>
              </a:ext>
            </a:extLst>
          </p:cNvPr>
          <p:cNvSpPr>
            <a:spLocks noGrp="1"/>
          </p:cNvSpPr>
          <p:nvPr>
            <p:ph type="title"/>
          </p:nvPr>
        </p:nvSpPr>
        <p:spPr>
          <a:xfrm>
            <a:off x="565150" y="770890"/>
            <a:ext cx="9652315" cy="1268984"/>
          </a:xfrm>
        </p:spPr>
        <p:txBody>
          <a:bodyPr>
            <a:normAutofit/>
          </a:bodyPr>
          <a:lstStyle/>
          <a:p>
            <a:r>
              <a:rPr lang="pt-PT" err="1"/>
              <a:t>Model</a:t>
            </a:r>
            <a:r>
              <a:rPr lang="pt-PT"/>
              <a:t> Performance – </a:t>
            </a:r>
            <a:r>
              <a:rPr lang="pt-PT" err="1"/>
              <a:t>Test</a:t>
            </a:r>
            <a:r>
              <a:rPr lang="pt-PT"/>
              <a:t> Set</a:t>
            </a:r>
            <a:br>
              <a:rPr lang="en-US" sz="2800"/>
            </a:br>
            <a:r>
              <a:rPr lang="pt-PT" sz="2800"/>
              <a:t>SVM</a:t>
            </a:r>
          </a:p>
        </p:txBody>
      </p:sp>
      <p:pic>
        <p:nvPicPr>
          <p:cNvPr id="3" name="Picture 2" descr="A screenshot of a computer&#10;&#10;Description automatically generated">
            <a:extLst>
              <a:ext uri="{FF2B5EF4-FFF2-40B4-BE49-F238E27FC236}">
                <a16:creationId xmlns:a16="http://schemas.microsoft.com/office/drawing/2014/main" id="{C9F89CF5-9B56-7B54-B39F-CE73D25177EE}"/>
              </a:ext>
            </a:extLst>
          </p:cNvPr>
          <p:cNvPicPr>
            <a:picLocks noChangeAspect="1"/>
          </p:cNvPicPr>
          <p:nvPr/>
        </p:nvPicPr>
        <p:blipFill>
          <a:blip r:embed="rId2"/>
          <a:stretch>
            <a:fillRect/>
          </a:stretch>
        </p:blipFill>
        <p:spPr>
          <a:xfrm>
            <a:off x="783590" y="2225040"/>
            <a:ext cx="4203700" cy="3362960"/>
          </a:xfrm>
          <a:prstGeom prst="rect">
            <a:avLst/>
          </a:prstGeom>
        </p:spPr>
      </p:pic>
      <p:pic>
        <p:nvPicPr>
          <p:cNvPr id="5" name="Picture 4">
            <a:extLst>
              <a:ext uri="{FF2B5EF4-FFF2-40B4-BE49-F238E27FC236}">
                <a16:creationId xmlns:a16="http://schemas.microsoft.com/office/drawing/2014/main" id="{7BDDC504-4999-0EFF-56AB-28D18779C6BD}"/>
              </a:ext>
            </a:extLst>
          </p:cNvPr>
          <p:cNvPicPr>
            <a:picLocks noChangeAspect="1"/>
          </p:cNvPicPr>
          <p:nvPr/>
        </p:nvPicPr>
        <p:blipFill>
          <a:blip r:embed="rId3"/>
          <a:stretch>
            <a:fillRect/>
          </a:stretch>
        </p:blipFill>
        <p:spPr>
          <a:xfrm>
            <a:off x="5693411" y="2263458"/>
            <a:ext cx="4381498" cy="3286124"/>
          </a:xfrm>
          <a:prstGeom prst="rect">
            <a:avLst/>
          </a:prstGeom>
        </p:spPr>
      </p:pic>
      <p:sp>
        <p:nvSpPr>
          <p:cNvPr id="2" name="Slide Number Placeholder 1">
            <a:extLst>
              <a:ext uri="{FF2B5EF4-FFF2-40B4-BE49-F238E27FC236}">
                <a16:creationId xmlns:a16="http://schemas.microsoft.com/office/drawing/2014/main" id="{A8F7325A-26AA-3C3D-3EBE-CED4E01EA1FF}"/>
              </a:ext>
            </a:extLst>
          </p:cNvPr>
          <p:cNvSpPr>
            <a:spLocks noGrp="1"/>
          </p:cNvSpPr>
          <p:nvPr>
            <p:ph type="sldNum" sz="quarter" idx="12"/>
          </p:nvPr>
        </p:nvSpPr>
        <p:spPr/>
        <p:txBody>
          <a:bodyPr/>
          <a:lstStyle/>
          <a:p>
            <a:fld id="{49ABCAEC-7D34-E549-A96E-FCEDAADBE4B0}" type="slidenum">
              <a:rPr lang="en-US" smtClean="0"/>
              <a:t>30</a:t>
            </a:fld>
            <a:endParaRPr lang="en-US"/>
          </a:p>
        </p:txBody>
      </p:sp>
    </p:spTree>
    <p:extLst>
      <p:ext uri="{BB962C8B-B14F-4D97-AF65-F5344CB8AC3E}">
        <p14:creationId xmlns:p14="http://schemas.microsoft.com/office/powerpoint/2010/main" val="3671253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05540156-63B3-F0B3-69B0-850741C21F54}"/>
              </a:ext>
            </a:extLst>
          </p:cNvPr>
          <p:cNvGraphicFramePr/>
          <p:nvPr>
            <p:extLst>
              <p:ext uri="{D42A27DB-BD31-4B8C-83A1-F6EECF244321}">
                <p14:modId xmlns:p14="http://schemas.microsoft.com/office/powerpoint/2010/main" val="786071762"/>
              </p:ext>
            </p:extLst>
          </p:nvPr>
        </p:nvGraphicFramePr>
        <p:xfrm>
          <a:off x="698641" y="1551775"/>
          <a:ext cx="5587858" cy="40461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5" name="Subtitle 14">
            <a:extLst>
              <a:ext uri="{FF2B5EF4-FFF2-40B4-BE49-F238E27FC236}">
                <a16:creationId xmlns:a16="http://schemas.microsoft.com/office/drawing/2014/main" id="{13ADDB39-9093-F0B9-87D6-43B97E62BD39}"/>
              </a:ext>
            </a:extLst>
          </p:cNvPr>
          <p:cNvSpPr txBox="1">
            <a:spLocks/>
          </p:cNvSpPr>
          <p:nvPr/>
        </p:nvSpPr>
        <p:spPr>
          <a:xfrm>
            <a:off x="473171" y="6098369"/>
            <a:ext cx="2745374" cy="26399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prstClr val="black">
                    <a:lumMod val="75000"/>
                    <a:lumOff val="25000"/>
                  </a:prstClr>
                </a:solidFill>
                <a:effectLst/>
                <a:uLnTx/>
                <a:uFillTx/>
                <a:latin typeface="Tenorite"/>
                <a:ea typeface="+mn-ea"/>
                <a:cs typeface="+mn-cs"/>
              </a:rPr>
              <a:t>(1) </a:t>
            </a:r>
            <a:r>
              <a:rPr kumimoji="0" lang="en-US" sz="700" b="0" i="0" u="none" strike="noStrike" kern="1200" cap="none" spc="0" normalizeH="0" baseline="0" noProof="0">
                <a:ln>
                  <a:noFill/>
                </a:ln>
                <a:solidFill>
                  <a:prstClr val="black">
                    <a:lumMod val="75000"/>
                    <a:lumOff val="25000"/>
                  </a:prstClr>
                </a:solidFill>
                <a:effectLst/>
                <a:uLnTx/>
                <a:uFillTx/>
                <a:latin typeface="Tenorite"/>
                <a:ea typeface="+mn-ea"/>
                <a:cs typeface="+mn-cs"/>
                <a:hlinkClick r:id="rId7"/>
              </a:rPr>
              <a:t>Gartner Study</a:t>
            </a:r>
            <a:r>
              <a:rPr kumimoji="0" lang="en-US" sz="700" b="0" i="0" u="none" strike="noStrike" kern="1200" cap="none" spc="0" normalizeH="0" baseline="0" noProof="0">
                <a:ln>
                  <a:noFill/>
                </a:ln>
                <a:solidFill>
                  <a:prstClr val="black">
                    <a:lumMod val="75000"/>
                    <a:lumOff val="25000"/>
                  </a:prstClr>
                </a:solidFill>
                <a:effectLst/>
                <a:uLnTx/>
                <a:uFillTx/>
                <a:latin typeface="Tenorite"/>
                <a:ea typeface="+mn-ea"/>
                <a:cs typeface="+mn-cs"/>
              </a:rPr>
              <a:t>; </a:t>
            </a:r>
            <a:r>
              <a:rPr kumimoji="0" lang="en-US" sz="700" b="0" i="0" u="none" strike="noStrike" kern="1200" cap="none" spc="0" normalizeH="0" baseline="0" noProof="0">
                <a:ln>
                  <a:noFill/>
                </a:ln>
                <a:solidFill>
                  <a:prstClr val="black">
                    <a:lumMod val="75000"/>
                    <a:lumOff val="25000"/>
                  </a:prstClr>
                </a:solidFill>
                <a:effectLst/>
                <a:uLnTx/>
                <a:uFillTx/>
                <a:latin typeface="Tenorite"/>
                <a:ea typeface="+mn-ea"/>
                <a:cs typeface="+mn-cs"/>
                <a:hlinkClick r:id="rId8"/>
              </a:rPr>
              <a:t>HBR article</a:t>
            </a:r>
            <a:r>
              <a:rPr kumimoji="0" lang="en-US" sz="700" b="0" i="0" u="none" strike="noStrike" kern="1200" cap="none" spc="0" normalizeH="0" baseline="0" noProof="0">
                <a:ln>
                  <a:noFill/>
                </a:ln>
                <a:solidFill>
                  <a:prstClr val="black">
                    <a:lumMod val="75000"/>
                    <a:lumOff val="25000"/>
                  </a:prstClr>
                </a:solidFill>
                <a:effectLst/>
                <a:uLnTx/>
                <a:uFillTx/>
                <a:latin typeface="Tenorite"/>
                <a:ea typeface="+mn-ea"/>
                <a:cs typeface="+mn-cs"/>
              </a:rPr>
              <a:t> | (2) </a:t>
            </a:r>
            <a:r>
              <a:rPr kumimoji="0" lang="en-US" sz="700" b="0" i="0" u="none" strike="noStrike" kern="1200" cap="none" spc="0" normalizeH="0" baseline="0">
                <a:ln>
                  <a:noFill/>
                </a:ln>
                <a:solidFill>
                  <a:prstClr val="black">
                    <a:lumMod val="75000"/>
                    <a:lumOff val="25000"/>
                  </a:prstClr>
                </a:solidFill>
                <a:effectLst/>
                <a:uLnTx/>
                <a:uFillTx/>
                <a:latin typeface="Tenorite"/>
                <a:ea typeface="+mn-ea"/>
                <a:cs typeface="+mn-cs"/>
                <a:hlinkClick r:id="rId9"/>
              </a:rPr>
              <a:t>Forbes article</a:t>
            </a:r>
            <a:endParaRPr kumimoji="0" lang="en-US" sz="700" b="0" i="0" u="none" strike="noStrike" kern="1200" cap="none" spc="0" normalizeH="0" baseline="0">
              <a:ln>
                <a:noFill/>
              </a:ln>
              <a:solidFill>
                <a:prstClr val="black">
                  <a:lumMod val="75000"/>
                  <a:lumOff val="25000"/>
                </a:prstClr>
              </a:solidFill>
              <a:effectLst/>
              <a:uLnTx/>
              <a:uFillTx/>
              <a:latin typeface="Tenorite"/>
              <a:ea typeface="+mn-ea"/>
              <a:cs typeface="+mn-cs"/>
            </a:endParaRPr>
          </a:p>
        </p:txBody>
      </p:sp>
      <p:sp>
        <p:nvSpPr>
          <p:cNvPr id="10" name="Text Placeholder 6">
            <a:extLst>
              <a:ext uri="{FF2B5EF4-FFF2-40B4-BE49-F238E27FC236}">
                <a16:creationId xmlns:a16="http://schemas.microsoft.com/office/drawing/2014/main" id="{080201A8-8130-9940-0CF2-C0372A44A88D}"/>
              </a:ext>
            </a:extLst>
          </p:cNvPr>
          <p:cNvSpPr txBox="1">
            <a:spLocks/>
          </p:cNvSpPr>
          <p:nvPr/>
        </p:nvSpPr>
        <p:spPr>
          <a:xfrm>
            <a:off x="888791" y="1992314"/>
            <a:ext cx="10518349" cy="350209"/>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The rate of employee turn-over</a:t>
            </a:r>
            <a:r>
              <a:rPr kumimoji="0" lang="en-US" sz="1600" b="0" i="0" u="none" strike="noStrike" kern="1200" cap="none" spc="50" normalizeH="0" baseline="30000" noProof="0">
                <a:ln>
                  <a:noFill/>
                </a:ln>
                <a:solidFill>
                  <a:sysClr val="windowText" lastClr="000000">
                    <a:lumMod val="75000"/>
                    <a:lumOff val="25000"/>
                  </a:sysClr>
                </a:solidFill>
                <a:effectLst/>
                <a:uLnTx/>
                <a:uFillTx/>
                <a:latin typeface="Tenorite"/>
                <a:ea typeface="+mn-ea"/>
                <a:cs typeface="+mn-cs"/>
              </a:rPr>
              <a:t>(1)</a:t>
            </a: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 has </a:t>
            </a:r>
            <a:r>
              <a:rPr kumimoji="0" lang="en-US" sz="1600" b="1" i="0" u="none" strike="noStrike" kern="1200" cap="none" spc="50" normalizeH="0" baseline="0" noProof="0">
                <a:ln>
                  <a:noFill/>
                </a:ln>
                <a:solidFill>
                  <a:srgbClr val="3B9EB1">
                    <a:lumMod val="75000"/>
                  </a:srgbClr>
                </a:solidFill>
                <a:effectLst/>
                <a:uLnTx/>
                <a:uFillTx/>
                <a:latin typeface="Tenorite"/>
                <a:ea typeface="+mn-ea"/>
                <a:cs typeface="+mn-cs"/>
              </a:rPr>
              <a:t>increased in the recent years</a:t>
            </a: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 most significantly in the post-COVID era.</a:t>
            </a:r>
          </a:p>
        </p:txBody>
      </p:sp>
      <p:sp>
        <p:nvSpPr>
          <p:cNvPr id="11" name="Text Placeholder 7">
            <a:extLst>
              <a:ext uri="{FF2B5EF4-FFF2-40B4-BE49-F238E27FC236}">
                <a16:creationId xmlns:a16="http://schemas.microsoft.com/office/drawing/2014/main" id="{ED751B13-18AC-48F0-FFEE-047FE223283B}"/>
              </a:ext>
            </a:extLst>
          </p:cNvPr>
          <p:cNvSpPr txBox="1">
            <a:spLocks/>
          </p:cNvSpPr>
          <p:nvPr/>
        </p:nvSpPr>
        <p:spPr>
          <a:xfrm>
            <a:off x="888791" y="2993156"/>
            <a:ext cx="10518349" cy="350209"/>
          </a:xfrm>
          <a:prstGeom prst="rect">
            <a:avLst/>
          </a:prstGeom>
          <a:noFill/>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1" i="0" u="none" strike="noStrike" kern="1200" cap="none" spc="50" normalizeH="0" baseline="0" noProof="0">
                <a:ln>
                  <a:noFill/>
                </a:ln>
                <a:solidFill>
                  <a:srgbClr val="3B9EB1">
                    <a:lumMod val="75000"/>
                  </a:srgbClr>
                </a:solidFill>
                <a:effectLst/>
                <a:uLnTx/>
                <a:uFillTx/>
                <a:latin typeface="Tenorite"/>
                <a:ea typeface="+mn-ea"/>
                <a:cs typeface="+mn-cs"/>
              </a:rPr>
              <a:t>4.1 years </a:t>
            </a: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is the average tenure of an employee, according to the US Bureau of Labor Statistics</a:t>
            </a:r>
            <a:r>
              <a:rPr kumimoji="0" lang="en-US" sz="1600" b="0" i="0" u="none" strike="noStrike" kern="1200" cap="none" spc="50" normalizeH="0" baseline="30000" noProof="0">
                <a:ln>
                  <a:noFill/>
                </a:ln>
                <a:solidFill>
                  <a:sysClr val="windowText" lastClr="000000">
                    <a:lumMod val="75000"/>
                    <a:lumOff val="25000"/>
                  </a:sysClr>
                </a:solidFill>
                <a:effectLst/>
                <a:uLnTx/>
                <a:uFillTx/>
                <a:latin typeface="Tenorite"/>
                <a:ea typeface="+mn-ea"/>
                <a:cs typeface="+mn-cs"/>
              </a:rPr>
              <a:t>(2)</a:t>
            </a: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a:t>
            </a:r>
          </a:p>
        </p:txBody>
      </p:sp>
      <p:sp>
        <p:nvSpPr>
          <p:cNvPr id="16" name="Title 2">
            <a:extLst>
              <a:ext uri="{FF2B5EF4-FFF2-40B4-BE49-F238E27FC236}">
                <a16:creationId xmlns:a16="http://schemas.microsoft.com/office/drawing/2014/main" id="{DF29E7B4-6607-540B-2D74-612452C5FB5A}"/>
              </a:ext>
            </a:extLst>
          </p:cNvPr>
          <p:cNvSpPr txBox="1">
            <a:spLocks/>
          </p:cNvSpPr>
          <p:nvPr/>
        </p:nvSpPr>
        <p:spPr>
          <a:xfrm>
            <a:off x="557295" y="170669"/>
            <a:ext cx="7994690"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a:ln>
                  <a:noFill/>
                </a:ln>
                <a:solidFill>
                  <a:srgbClr val="000000"/>
                </a:solidFill>
                <a:effectLst/>
                <a:uLnTx/>
                <a:uFillTx/>
                <a:latin typeface="Neue Haas Grotesk Text Pro"/>
                <a:ea typeface="+mj-ea"/>
                <a:cs typeface="+mj-cs"/>
              </a:rPr>
              <a:t>Employee Attrition Indicators</a:t>
            </a:r>
          </a:p>
        </p:txBody>
      </p:sp>
      <p:sp>
        <p:nvSpPr>
          <p:cNvPr id="3" name="Text Placeholder 6">
            <a:extLst>
              <a:ext uri="{FF2B5EF4-FFF2-40B4-BE49-F238E27FC236}">
                <a16:creationId xmlns:a16="http://schemas.microsoft.com/office/drawing/2014/main" id="{5546F4E6-8DC5-1A81-2628-26990ECC3B32}"/>
              </a:ext>
            </a:extLst>
          </p:cNvPr>
          <p:cNvSpPr txBox="1">
            <a:spLocks/>
          </p:cNvSpPr>
          <p:nvPr/>
        </p:nvSpPr>
        <p:spPr>
          <a:xfrm>
            <a:off x="888791" y="4010151"/>
            <a:ext cx="10518349" cy="350209"/>
          </a:xfrm>
          <a:prstGeom prst="rect">
            <a:avLst/>
          </a:prstGeom>
          <a:no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Nearly </a:t>
            </a:r>
            <a:r>
              <a:rPr kumimoji="0" lang="en-US" sz="1600" b="1" i="0" u="none" strike="noStrike" kern="1200" cap="none" spc="50" normalizeH="0" baseline="0" noProof="0">
                <a:ln>
                  <a:noFill/>
                </a:ln>
                <a:solidFill>
                  <a:srgbClr val="3B9EB1">
                    <a:lumMod val="75000"/>
                  </a:srgbClr>
                </a:solidFill>
                <a:effectLst/>
                <a:uLnTx/>
                <a:uFillTx/>
                <a:latin typeface="Tenorite"/>
                <a:ea typeface="+mn-ea"/>
                <a:cs typeface="+mn-cs"/>
              </a:rPr>
              <a:t>38%</a:t>
            </a: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 of employees quit within the first year on the job</a:t>
            </a:r>
            <a:r>
              <a:rPr kumimoji="0" lang="en-US" sz="1600" b="0" i="0" u="none" strike="noStrike" kern="1200" cap="none" spc="50" normalizeH="0" baseline="30000" noProof="0">
                <a:ln>
                  <a:noFill/>
                </a:ln>
                <a:solidFill>
                  <a:sysClr val="windowText" lastClr="000000">
                    <a:lumMod val="75000"/>
                    <a:lumOff val="25000"/>
                  </a:sysClr>
                </a:solidFill>
                <a:effectLst/>
                <a:uLnTx/>
                <a:uFillTx/>
                <a:latin typeface="Tenorite"/>
                <a:ea typeface="+mn-ea"/>
                <a:cs typeface="+mn-cs"/>
              </a:rPr>
              <a:t> (2)</a:t>
            </a: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a:t>
            </a:r>
          </a:p>
        </p:txBody>
      </p:sp>
      <p:sp>
        <p:nvSpPr>
          <p:cNvPr id="4" name="Text Placeholder 6">
            <a:extLst>
              <a:ext uri="{FF2B5EF4-FFF2-40B4-BE49-F238E27FC236}">
                <a16:creationId xmlns:a16="http://schemas.microsoft.com/office/drawing/2014/main" id="{DD68A98E-A2B6-F0B8-6AA0-4A06453DDEB1}"/>
              </a:ext>
            </a:extLst>
          </p:cNvPr>
          <p:cNvSpPr txBox="1">
            <a:spLocks/>
          </p:cNvSpPr>
          <p:nvPr/>
        </p:nvSpPr>
        <p:spPr>
          <a:xfrm>
            <a:off x="888791" y="4990376"/>
            <a:ext cx="10518349" cy="350209"/>
          </a:xfrm>
          <a:prstGeom prst="rect">
            <a:avLst/>
          </a:prstGeom>
          <a:no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It costs </a:t>
            </a:r>
            <a:r>
              <a:rPr kumimoji="0" lang="en-US" sz="1600" b="1" i="0" u="none" strike="noStrike" kern="1200" cap="none" spc="50" normalizeH="0" baseline="0" noProof="0">
                <a:ln>
                  <a:noFill/>
                </a:ln>
                <a:solidFill>
                  <a:srgbClr val="3B9EB1">
                    <a:lumMod val="75000"/>
                  </a:srgbClr>
                </a:solidFill>
                <a:effectLst/>
                <a:uLnTx/>
                <a:uFillTx/>
                <a:latin typeface="Tenorite"/>
                <a:ea typeface="+mn-ea"/>
                <a:cs typeface="+mn-cs"/>
              </a:rPr>
              <a:t>33% </a:t>
            </a: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of an employee’s salary to substitute them</a:t>
            </a:r>
            <a:r>
              <a:rPr kumimoji="0" lang="en-US" sz="1600" b="0" i="0" u="none" strike="noStrike" kern="1200" cap="none" spc="50" normalizeH="0" baseline="30000" noProof="0">
                <a:ln>
                  <a:noFill/>
                </a:ln>
                <a:solidFill>
                  <a:sysClr val="windowText" lastClr="000000">
                    <a:lumMod val="75000"/>
                    <a:lumOff val="25000"/>
                  </a:sysClr>
                </a:solidFill>
                <a:effectLst/>
                <a:uLnTx/>
                <a:uFillTx/>
                <a:latin typeface="Tenorite"/>
                <a:ea typeface="+mn-ea"/>
                <a:cs typeface="+mn-cs"/>
              </a:rPr>
              <a:t>(2)</a:t>
            </a:r>
            <a:r>
              <a:rPr kumimoji="0" lang="en-US" sz="16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a:t>
            </a:r>
          </a:p>
        </p:txBody>
      </p:sp>
      <p:sp>
        <p:nvSpPr>
          <p:cNvPr id="5" name="Slide Number Placeholder 4">
            <a:extLst>
              <a:ext uri="{FF2B5EF4-FFF2-40B4-BE49-F238E27FC236}">
                <a16:creationId xmlns:a16="http://schemas.microsoft.com/office/drawing/2014/main" id="{E0228BDC-9E56-A358-739C-5BC33A73CCDB}"/>
              </a:ext>
            </a:extLst>
          </p:cNvPr>
          <p:cNvSpPr>
            <a:spLocks noGrp="1"/>
          </p:cNvSpPr>
          <p:nvPr>
            <p:ph type="sldNum" sz="quarter" idx="12"/>
          </p:nvPr>
        </p:nvSpPr>
        <p:spPr/>
        <p:txBody>
          <a:bodyPr/>
          <a:lstStyle/>
          <a:p>
            <a:fld id="{49ABCAEC-7D34-E549-A96E-FCEDAADBE4B0}" type="slidenum">
              <a:rPr lang="en-US" smtClean="0"/>
              <a:t>4</a:t>
            </a:fld>
            <a:endParaRPr lang="en-US"/>
          </a:p>
        </p:txBody>
      </p:sp>
      <p:sp>
        <p:nvSpPr>
          <p:cNvPr id="6" name="Text Placeholder 2">
            <a:extLst>
              <a:ext uri="{FF2B5EF4-FFF2-40B4-BE49-F238E27FC236}">
                <a16:creationId xmlns:a16="http://schemas.microsoft.com/office/drawing/2014/main" id="{670AD740-E629-1BA7-1807-3CE135168FAD}"/>
              </a:ext>
            </a:extLst>
          </p:cNvPr>
          <p:cNvSpPr txBox="1">
            <a:spLocks/>
          </p:cNvSpPr>
          <p:nvPr/>
        </p:nvSpPr>
        <p:spPr>
          <a:xfrm>
            <a:off x="561743" y="834672"/>
            <a:ext cx="9861964" cy="316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panose="00000500000000000000" pitchFamily="2" charset="0"/>
                <a:ea typeface="+mj-lt"/>
                <a:cs typeface="+mj-lt"/>
              </a:rPr>
              <a:t>Key indicators companies should consider regarding employee attrition</a:t>
            </a:r>
            <a:endParaRPr lang="pt-PT" sz="1800" b="1">
              <a:solidFill>
                <a:schemeClr val="accent1">
                  <a:lumMod val="75000"/>
                </a:schemeClr>
              </a:solidFill>
              <a:latin typeface="Tenorite" panose="00000500000000000000" pitchFamily="2" charset="0"/>
            </a:endParaRPr>
          </a:p>
        </p:txBody>
      </p:sp>
    </p:spTree>
    <p:extLst>
      <p:ext uri="{BB962C8B-B14F-4D97-AF65-F5344CB8AC3E}">
        <p14:creationId xmlns:p14="http://schemas.microsoft.com/office/powerpoint/2010/main" val="36742089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2">
            <a:extLst>
              <a:ext uri="{FF2B5EF4-FFF2-40B4-BE49-F238E27FC236}">
                <a16:creationId xmlns:a16="http://schemas.microsoft.com/office/drawing/2014/main" id="{AD4D45B0-5E57-0366-5454-2587875C7E6C}"/>
              </a:ext>
            </a:extLst>
          </p:cNvPr>
          <p:cNvSpPr txBox="1">
            <a:spLocks/>
          </p:cNvSpPr>
          <p:nvPr/>
        </p:nvSpPr>
        <p:spPr>
          <a:xfrm>
            <a:off x="557295" y="153251"/>
            <a:ext cx="774850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a:defRPr/>
            </a:pPr>
            <a:r>
              <a:rPr kumimoji="0" lang="en-US" sz="4000" b="1" i="0" u="none" strike="noStrike" kern="1200" cap="none" spc="0" normalizeH="0" baseline="0">
                <a:ln>
                  <a:noFill/>
                </a:ln>
                <a:solidFill>
                  <a:srgbClr val="000000"/>
                </a:solidFill>
                <a:effectLst/>
                <a:uLnTx/>
                <a:uFillTx/>
                <a:latin typeface="Neue Haas Grotesk Text Pro"/>
                <a:ea typeface="+mj-ea"/>
                <a:cs typeface="+mj-cs"/>
              </a:rPr>
              <a:t>Employee Attrition Indicator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pt-PT" sz="4000" b="1" i="0" u="none" strike="noStrike" kern="1200" cap="none" spc="0" normalizeH="0" baseline="0" noProof="0">
              <a:ln>
                <a:noFill/>
              </a:ln>
              <a:solidFill>
                <a:srgbClr val="000000"/>
              </a:solidFill>
              <a:effectLst/>
              <a:highlight>
                <a:srgbClr val="FFFF00"/>
              </a:highlight>
              <a:uLnTx/>
              <a:uFillTx/>
              <a:latin typeface="Neue Haas Grotesk Text Pro"/>
              <a:ea typeface="+mj-ea"/>
              <a:cs typeface="+mj-cs"/>
            </a:endParaRPr>
          </a:p>
        </p:txBody>
      </p:sp>
      <p:sp>
        <p:nvSpPr>
          <p:cNvPr id="44" name="Subtitle 14">
            <a:extLst>
              <a:ext uri="{FF2B5EF4-FFF2-40B4-BE49-F238E27FC236}">
                <a16:creationId xmlns:a16="http://schemas.microsoft.com/office/drawing/2014/main" id="{8D754881-9F2C-1573-A4C3-CA7D528265BC}"/>
              </a:ext>
            </a:extLst>
          </p:cNvPr>
          <p:cNvSpPr txBox="1">
            <a:spLocks/>
          </p:cNvSpPr>
          <p:nvPr/>
        </p:nvSpPr>
        <p:spPr>
          <a:xfrm>
            <a:off x="491119" y="6082880"/>
            <a:ext cx="1380501" cy="26399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a:ln>
                  <a:noFill/>
                </a:ln>
                <a:solidFill>
                  <a:srgbClr val="000000">
                    <a:lumMod val="75000"/>
                    <a:lumOff val="25000"/>
                  </a:srgbClr>
                </a:solidFill>
                <a:effectLst/>
                <a:uLnTx/>
                <a:uFillTx/>
                <a:latin typeface="Tenorite" panose="00000500000000000000" pitchFamily="2" charset="0"/>
                <a:ea typeface="+mn-ea"/>
                <a:cs typeface="+mn-cs"/>
              </a:rPr>
              <a:t>(3) </a:t>
            </a:r>
            <a:r>
              <a:rPr kumimoji="0" lang="en-US" sz="700" b="0" i="0" u="none" strike="noStrike" kern="1200" cap="none" spc="0" normalizeH="0" baseline="0" noProof="0">
                <a:ln>
                  <a:noFill/>
                </a:ln>
                <a:solidFill>
                  <a:srgbClr val="000000">
                    <a:lumMod val="75000"/>
                    <a:lumOff val="25000"/>
                  </a:srgbClr>
                </a:solidFill>
                <a:effectLst/>
                <a:uLnTx/>
                <a:uFillTx/>
                <a:latin typeface="Tenorite" panose="00000500000000000000" pitchFamily="2" charset="0"/>
                <a:ea typeface="+mn-ea"/>
                <a:cs typeface="+mn-cs"/>
                <a:hlinkClick r:id="rId2"/>
              </a:rPr>
              <a:t>LinkedIn Article</a:t>
            </a:r>
            <a:endParaRPr kumimoji="0" lang="pt-PT" sz="700" b="0" i="0" u="none" strike="noStrike" kern="1200" cap="none" spc="0" normalizeH="0" baseline="0" noProof="0">
              <a:ln>
                <a:noFill/>
              </a:ln>
              <a:solidFill>
                <a:srgbClr val="000000">
                  <a:lumMod val="75000"/>
                  <a:lumOff val="25000"/>
                </a:srgbClr>
              </a:solidFill>
              <a:effectLst/>
              <a:uLnTx/>
              <a:uFillTx/>
              <a:latin typeface="Tenorite" panose="00000500000000000000" pitchFamily="2" charset="0"/>
              <a:ea typeface="+mn-ea"/>
              <a:cs typeface="+mn-cs"/>
            </a:endParaRPr>
          </a:p>
        </p:txBody>
      </p:sp>
      <p:sp>
        <p:nvSpPr>
          <p:cNvPr id="2" name="Text Placeholder 2">
            <a:extLst>
              <a:ext uri="{FF2B5EF4-FFF2-40B4-BE49-F238E27FC236}">
                <a16:creationId xmlns:a16="http://schemas.microsoft.com/office/drawing/2014/main" id="{55EC9EB9-31D0-746C-6198-45C05945FE60}"/>
              </a:ext>
            </a:extLst>
          </p:cNvPr>
          <p:cNvSpPr txBox="1">
            <a:spLocks/>
          </p:cNvSpPr>
          <p:nvPr/>
        </p:nvSpPr>
        <p:spPr>
          <a:xfrm>
            <a:off x="561743" y="834672"/>
            <a:ext cx="9861964" cy="316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panose="00000500000000000000" pitchFamily="2" charset="0"/>
                <a:ea typeface="+mj-lt"/>
                <a:cs typeface="+mj-lt"/>
              </a:rPr>
              <a:t>At BI4All, the attrition rate is higher than average, but so is the employee tenure.</a:t>
            </a:r>
            <a:br>
              <a:rPr lang="en-US" sz="1800" b="1">
                <a:solidFill>
                  <a:schemeClr val="accent1">
                    <a:lumMod val="75000"/>
                  </a:schemeClr>
                </a:solidFill>
                <a:latin typeface="Tenorite" panose="00000500000000000000" pitchFamily="2" charset="0"/>
                <a:ea typeface="+mj-lt"/>
                <a:cs typeface="+mj-lt"/>
              </a:rPr>
            </a:br>
            <a:r>
              <a:rPr lang="en-US" sz="1800" b="1">
                <a:solidFill>
                  <a:schemeClr val="accent1">
                    <a:lumMod val="75000"/>
                  </a:schemeClr>
                </a:solidFill>
                <a:latin typeface="Tenorite" panose="00000500000000000000" pitchFamily="2" charset="0"/>
                <a:ea typeface="+mj-lt"/>
                <a:cs typeface="+mj-lt"/>
              </a:rPr>
              <a:t> </a:t>
            </a:r>
            <a:endParaRPr lang="pt-PT" sz="1800" b="1">
              <a:solidFill>
                <a:schemeClr val="accent1">
                  <a:lumMod val="75000"/>
                </a:schemeClr>
              </a:solidFill>
              <a:latin typeface="Tenorite" panose="00000500000000000000" pitchFamily="2" charset="0"/>
            </a:endParaRPr>
          </a:p>
        </p:txBody>
      </p:sp>
      <p:sp>
        <p:nvSpPr>
          <p:cNvPr id="60" name="Rectangle 59">
            <a:extLst>
              <a:ext uri="{FF2B5EF4-FFF2-40B4-BE49-F238E27FC236}">
                <a16:creationId xmlns:a16="http://schemas.microsoft.com/office/drawing/2014/main" id="{3D47395C-AD96-0391-D3BB-2C9B01CC519D}"/>
              </a:ext>
            </a:extLst>
          </p:cNvPr>
          <p:cNvSpPr/>
          <p:nvPr/>
        </p:nvSpPr>
        <p:spPr>
          <a:xfrm>
            <a:off x="1575254" y="1532119"/>
            <a:ext cx="1576072" cy="707886"/>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4000" b="1" cap="none" spc="0">
                <a:ln/>
                <a:solidFill>
                  <a:schemeClr val="accent1"/>
                </a:solidFill>
                <a:effectLst/>
              </a:rPr>
              <a:t>16,1%</a:t>
            </a:r>
          </a:p>
        </p:txBody>
      </p:sp>
      <p:sp>
        <p:nvSpPr>
          <p:cNvPr id="61" name="Rectangle 60">
            <a:extLst>
              <a:ext uri="{FF2B5EF4-FFF2-40B4-BE49-F238E27FC236}">
                <a16:creationId xmlns:a16="http://schemas.microsoft.com/office/drawing/2014/main" id="{9FA0BD40-17FE-5B1F-5316-AE91EAB8B1F9}"/>
              </a:ext>
            </a:extLst>
          </p:cNvPr>
          <p:cNvSpPr/>
          <p:nvPr/>
        </p:nvSpPr>
        <p:spPr>
          <a:xfrm>
            <a:off x="1633438" y="1393519"/>
            <a:ext cx="1283678" cy="307777"/>
          </a:xfrm>
          <a:prstGeom prst="rect">
            <a:avLst/>
          </a:prstGeom>
          <a:noFill/>
        </p:spPr>
        <p:txBody>
          <a:bodyPr wrap="square" lIns="91440" tIns="45720" rIns="91440" bIns="45720">
            <a:spAutoFit/>
          </a:bodyPr>
          <a:lstStyle/>
          <a:p>
            <a:pPr algn="ctr"/>
            <a:r>
              <a:rPr lang="en-US" sz="1400" b="1" cap="none" spc="0">
                <a:ln w="0"/>
                <a:solidFill>
                  <a:schemeClr val="tx1"/>
                </a:solidFill>
                <a:effectLst>
                  <a:outerShdw blurRad="38100" dist="19050" dir="2700000" algn="tl" rotWithShape="0">
                    <a:schemeClr val="dk1">
                      <a:alpha val="40000"/>
                    </a:schemeClr>
                  </a:outerShdw>
                </a:effectLst>
                <a:latin typeface="Tenorite" panose="00000500000000000000" pitchFamily="2" charset="0"/>
              </a:rPr>
              <a:t>Attrition </a:t>
            </a:r>
            <a:r>
              <a:rPr lang="en-US" sz="1400" b="1">
                <a:ln w="0"/>
                <a:effectLst>
                  <a:outerShdw blurRad="38100" dist="19050" dir="2700000" algn="tl" rotWithShape="0">
                    <a:schemeClr val="dk1">
                      <a:alpha val="40000"/>
                    </a:schemeClr>
                  </a:outerShdw>
                </a:effectLst>
                <a:latin typeface="Tenorite" panose="00000500000000000000" pitchFamily="2" charset="0"/>
              </a:rPr>
              <a:t>Rate</a:t>
            </a:r>
            <a:endParaRPr lang="en-US" sz="1400" b="0" cap="none" spc="0">
              <a:ln w="0"/>
              <a:solidFill>
                <a:schemeClr val="tx1"/>
              </a:solidFill>
              <a:effectLst>
                <a:outerShdw blurRad="38100" dist="19050" dir="2700000" algn="tl" rotWithShape="0">
                  <a:schemeClr val="dk1">
                    <a:alpha val="40000"/>
                  </a:schemeClr>
                </a:outerShdw>
              </a:effectLst>
              <a:latin typeface="Tenorite" panose="00000500000000000000" pitchFamily="2" charset="0"/>
            </a:endParaRPr>
          </a:p>
        </p:txBody>
      </p:sp>
      <p:sp>
        <p:nvSpPr>
          <p:cNvPr id="62" name="Text Placeholder 6">
            <a:extLst>
              <a:ext uri="{FF2B5EF4-FFF2-40B4-BE49-F238E27FC236}">
                <a16:creationId xmlns:a16="http://schemas.microsoft.com/office/drawing/2014/main" id="{FBE2C0AD-7C55-9DFA-57DD-4246D3B6124D}"/>
              </a:ext>
            </a:extLst>
          </p:cNvPr>
          <p:cNvSpPr txBox="1">
            <a:spLocks/>
          </p:cNvSpPr>
          <p:nvPr/>
        </p:nvSpPr>
        <p:spPr>
          <a:xfrm>
            <a:off x="696169" y="2331632"/>
            <a:ext cx="3043918" cy="77385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The company displays an </a:t>
            </a:r>
            <a:r>
              <a:rPr kumimoji="0" lang="en-US" b="1" i="0" u="none" strike="noStrike" kern="1200" cap="none" spc="50" normalizeH="0" baseline="0" noProof="0">
                <a:ln>
                  <a:noFill/>
                </a:ln>
                <a:solidFill>
                  <a:schemeClr val="accent1">
                    <a:lumMod val="75000"/>
                  </a:schemeClr>
                </a:solidFill>
                <a:effectLst/>
                <a:uLnTx/>
                <a:uFillTx/>
                <a:latin typeface="Tenorite"/>
                <a:ea typeface="+mn-ea"/>
                <a:cs typeface="+mn-cs"/>
              </a:rPr>
              <a:t>attrition rate 3% higher </a:t>
            </a: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than the IT industry standards of 12,9%</a:t>
            </a:r>
            <a:r>
              <a:rPr kumimoji="0" lang="en-US" b="0" i="0" u="none" strike="noStrike" kern="1200" cap="none" spc="50" normalizeH="0" baseline="30000" noProof="0">
                <a:ln>
                  <a:noFill/>
                </a:ln>
                <a:solidFill>
                  <a:srgbClr val="000000">
                    <a:lumMod val="75000"/>
                    <a:lumOff val="25000"/>
                  </a:srgbClr>
                </a:solidFill>
                <a:effectLst/>
                <a:uLnTx/>
                <a:uFillTx/>
                <a:latin typeface="Tenorite" panose="00000500000000000000" pitchFamily="2" charset="0"/>
                <a:ea typeface="+mn-ea"/>
                <a:cs typeface="+mn-cs"/>
              </a:rPr>
              <a:t>(3)</a:t>
            </a:r>
            <a:r>
              <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rPr>
              <a:t>. </a:t>
            </a:r>
          </a:p>
        </p:txBody>
      </p:sp>
      <p:graphicFrame>
        <p:nvGraphicFramePr>
          <p:cNvPr id="63" name="Chart 62">
            <a:extLst>
              <a:ext uri="{FF2B5EF4-FFF2-40B4-BE49-F238E27FC236}">
                <a16:creationId xmlns:a16="http://schemas.microsoft.com/office/drawing/2014/main" id="{CDC5BF55-8325-131A-784F-B2180F478444}"/>
              </a:ext>
            </a:extLst>
          </p:cNvPr>
          <p:cNvGraphicFramePr>
            <a:graphicFrameLocks/>
          </p:cNvGraphicFramePr>
          <p:nvPr>
            <p:extLst>
              <p:ext uri="{D42A27DB-BD31-4B8C-83A1-F6EECF244321}">
                <p14:modId xmlns:p14="http://schemas.microsoft.com/office/powerpoint/2010/main" val="1694725313"/>
              </p:ext>
            </p:extLst>
          </p:nvPr>
        </p:nvGraphicFramePr>
        <p:xfrm>
          <a:off x="751009" y="3360592"/>
          <a:ext cx="2812805" cy="1936828"/>
        </p:xfrm>
        <a:graphic>
          <a:graphicData uri="http://schemas.openxmlformats.org/drawingml/2006/chart">
            <c:chart xmlns:c="http://schemas.openxmlformats.org/drawingml/2006/chart" xmlns:r="http://schemas.openxmlformats.org/officeDocument/2006/relationships" r:id="rId3"/>
          </a:graphicData>
        </a:graphic>
      </p:graphicFrame>
      <p:sp>
        <p:nvSpPr>
          <p:cNvPr id="67" name="Text Placeholder 9">
            <a:extLst>
              <a:ext uri="{FF2B5EF4-FFF2-40B4-BE49-F238E27FC236}">
                <a16:creationId xmlns:a16="http://schemas.microsoft.com/office/drawing/2014/main" id="{EA908AD1-C6D6-221A-2342-6833B82ECB02}"/>
              </a:ext>
            </a:extLst>
          </p:cNvPr>
          <p:cNvSpPr txBox="1">
            <a:spLocks/>
          </p:cNvSpPr>
          <p:nvPr/>
        </p:nvSpPr>
        <p:spPr>
          <a:xfrm>
            <a:off x="3952204" y="2337409"/>
            <a:ext cx="3411291" cy="122153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rPr>
              <a:t>The average employee stays 7 years with the company, while most current employees have a </a:t>
            </a:r>
            <a:r>
              <a:rPr kumimoji="0" lang="en-US" b="1" i="0" u="none" strike="noStrike" kern="1200" cap="none" spc="50" normalizeH="0" baseline="0" noProof="0">
                <a:ln>
                  <a:noFill/>
                </a:ln>
                <a:solidFill>
                  <a:schemeClr val="accent1">
                    <a:lumMod val="75000"/>
                  </a:schemeClr>
                </a:solidFill>
                <a:effectLst/>
                <a:uLnTx/>
                <a:uFillTx/>
                <a:latin typeface="Tenorite" panose="00000500000000000000" pitchFamily="2" charset="0"/>
                <a:ea typeface="+mn-ea"/>
                <a:cs typeface="+mn-cs"/>
              </a:rPr>
              <a:t>tenure of 5 years.</a:t>
            </a:r>
          </a:p>
        </p:txBody>
      </p:sp>
      <p:graphicFrame>
        <p:nvGraphicFramePr>
          <p:cNvPr id="68" name="Chart 67">
            <a:extLst>
              <a:ext uri="{FF2B5EF4-FFF2-40B4-BE49-F238E27FC236}">
                <a16:creationId xmlns:a16="http://schemas.microsoft.com/office/drawing/2014/main" id="{0C84A05C-AEEB-123A-A0FC-B989CE768FD6}"/>
              </a:ext>
            </a:extLst>
          </p:cNvPr>
          <p:cNvGraphicFramePr>
            <a:graphicFrameLocks/>
          </p:cNvGraphicFramePr>
          <p:nvPr>
            <p:extLst>
              <p:ext uri="{D42A27DB-BD31-4B8C-83A1-F6EECF244321}">
                <p14:modId xmlns:p14="http://schemas.microsoft.com/office/powerpoint/2010/main" val="2891454819"/>
              </p:ext>
            </p:extLst>
          </p:nvPr>
        </p:nvGraphicFramePr>
        <p:xfrm>
          <a:off x="7680300" y="3327160"/>
          <a:ext cx="3498474" cy="1999704"/>
        </p:xfrm>
        <a:graphic>
          <a:graphicData uri="http://schemas.openxmlformats.org/drawingml/2006/chart">
            <c:chart xmlns:c="http://schemas.openxmlformats.org/drawingml/2006/chart" xmlns:r="http://schemas.openxmlformats.org/officeDocument/2006/relationships" r:id="rId4"/>
          </a:graphicData>
        </a:graphic>
      </p:graphicFrame>
      <p:sp>
        <p:nvSpPr>
          <p:cNvPr id="69" name="Text Placeholder 2">
            <a:extLst>
              <a:ext uri="{FF2B5EF4-FFF2-40B4-BE49-F238E27FC236}">
                <a16:creationId xmlns:a16="http://schemas.microsoft.com/office/drawing/2014/main" id="{3B42895E-0EE5-E927-1572-D1541D581EFF}"/>
              </a:ext>
            </a:extLst>
          </p:cNvPr>
          <p:cNvSpPr txBox="1">
            <a:spLocks/>
          </p:cNvSpPr>
          <p:nvPr/>
        </p:nvSpPr>
        <p:spPr>
          <a:xfrm>
            <a:off x="7575612" y="2365149"/>
            <a:ext cx="3707851" cy="107300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lumMod val="75000"/>
                    <a:lumOff val="2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PT" sz="1400" b="0"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Currently </a:t>
            </a:r>
            <a:r>
              <a:rPr kumimoji="0" lang="pt-PT" sz="1400" b="1" i="0" u="none" strike="noStrike" kern="1200" cap="none" spc="0" normalizeH="0" baseline="0" noProof="0">
                <a:ln>
                  <a:noFill/>
                </a:ln>
                <a:solidFill>
                  <a:srgbClr val="3B9EB1">
                    <a:lumMod val="75000"/>
                  </a:srgbClr>
                </a:solidFill>
                <a:effectLst/>
                <a:uLnTx/>
                <a:uFillTx/>
                <a:latin typeface="Tenorite"/>
                <a:ea typeface="+mn-ea"/>
                <a:cs typeface="+mn-cs"/>
              </a:rPr>
              <a:t>59.5%</a:t>
            </a:r>
            <a:r>
              <a:rPr kumimoji="0" lang="pt-PT" sz="1400" b="0" i="0" u="none" strike="noStrike" kern="1200" cap="none" spc="0" normalizeH="0" baseline="0" noProof="0">
                <a:ln>
                  <a:noFill/>
                </a:ln>
                <a:solidFill>
                  <a:srgbClr val="3B9EB1">
                    <a:lumMod val="75000"/>
                  </a:srgbClr>
                </a:solidFill>
                <a:effectLst/>
                <a:uLnTx/>
                <a:uFillTx/>
                <a:latin typeface="Tenorite"/>
                <a:ea typeface="+mn-ea"/>
                <a:cs typeface="+mn-cs"/>
              </a:rPr>
              <a:t> </a:t>
            </a:r>
            <a:r>
              <a:rPr kumimoji="0" lang="pt-PT" sz="1400" b="0"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of employees have resigned </a:t>
            </a:r>
            <a:r>
              <a:rPr kumimoji="0" lang="pt-PT" sz="1400" b="1" i="0" u="none" strike="noStrike" kern="1200" cap="none" spc="0" normalizeH="0" baseline="0" noProof="0">
                <a:ln>
                  <a:noFill/>
                </a:ln>
                <a:solidFill>
                  <a:schemeClr val="accent1">
                    <a:lumMod val="75000"/>
                  </a:schemeClr>
                </a:solidFill>
                <a:effectLst/>
                <a:uLnTx/>
                <a:uFillTx/>
                <a:latin typeface="Tenorite"/>
                <a:ea typeface="+mn-ea"/>
                <a:cs typeface="+mn-cs"/>
              </a:rPr>
              <a:t>within the first 5 years </a:t>
            </a:r>
            <a:r>
              <a:rPr kumimoji="0" lang="pt-PT" sz="1400" b="0" i="0" u="none" strike="noStrike" kern="1200" cap="none" spc="0" normalizeH="0" baseline="0" noProof="0">
                <a:ln>
                  <a:noFill/>
                </a:ln>
                <a:solidFill>
                  <a:sysClr val="windowText" lastClr="000000">
                    <a:lumMod val="75000"/>
                    <a:lumOff val="25000"/>
                  </a:sysClr>
                </a:solidFill>
                <a:effectLst/>
                <a:uLnTx/>
                <a:uFillTx/>
                <a:latin typeface="Tenorite"/>
                <a:ea typeface="+mn-ea"/>
                <a:cs typeface="+mn-cs"/>
              </a:rPr>
              <a:t>on the job.</a:t>
            </a:r>
          </a:p>
        </p:txBody>
      </p:sp>
      <p:pic>
        <p:nvPicPr>
          <p:cNvPr id="1026" name="Picture 2" descr="Dismissal ">
            <a:extLst>
              <a:ext uri="{FF2B5EF4-FFF2-40B4-BE49-F238E27FC236}">
                <a16:creationId xmlns:a16="http://schemas.microsoft.com/office/drawing/2014/main" id="{0C9954AD-A5AA-AE86-A26E-31896BFE46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5846" y="1410625"/>
            <a:ext cx="773851" cy="7738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screen shot of a graph&#10;&#10;Description automatically generated">
            <a:extLst>
              <a:ext uri="{FF2B5EF4-FFF2-40B4-BE49-F238E27FC236}">
                <a16:creationId xmlns:a16="http://schemas.microsoft.com/office/drawing/2014/main" id="{7A5B6AAF-19A6-83D1-F89E-AE8B88449A80}"/>
              </a:ext>
            </a:extLst>
          </p:cNvPr>
          <p:cNvPicPr>
            <a:picLocks noChangeAspect="1"/>
          </p:cNvPicPr>
          <p:nvPr/>
        </p:nvPicPr>
        <p:blipFill rotWithShape="1">
          <a:blip r:embed="rId6"/>
          <a:srcRect r="47833" b="685"/>
          <a:stretch/>
        </p:blipFill>
        <p:spPr>
          <a:xfrm>
            <a:off x="3982720" y="3171998"/>
            <a:ext cx="3180083" cy="2109823"/>
          </a:xfrm>
          <a:prstGeom prst="rect">
            <a:avLst/>
          </a:prstGeom>
          <a:ln>
            <a:solidFill>
              <a:schemeClr val="bg1">
                <a:lumMod val="95000"/>
              </a:schemeClr>
            </a:solidFill>
          </a:ln>
        </p:spPr>
      </p:pic>
      <p:sp>
        <p:nvSpPr>
          <p:cNvPr id="3" name="Arrow: Right 2">
            <a:extLst>
              <a:ext uri="{FF2B5EF4-FFF2-40B4-BE49-F238E27FC236}">
                <a16:creationId xmlns:a16="http://schemas.microsoft.com/office/drawing/2014/main" id="{491E49A6-4986-6EB0-110C-9A1CF11E21AC}"/>
              </a:ext>
            </a:extLst>
          </p:cNvPr>
          <p:cNvSpPr/>
          <p:nvPr/>
        </p:nvSpPr>
        <p:spPr>
          <a:xfrm>
            <a:off x="4303238" y="3438398"/>
            <a:ext cx="491048" cy="118933"/>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t-PT"/>
          </a:p>
        </p:txBody>
      </p:sp>
      <p:cxnSp>
        <p:nvCxnSpPr>
          <p:cNvPr id="6" name="Straight Connector 5">
            <a:extLst>
              <a:ext uri="{FF2B5EF4-FFF2-40B4-BE49-F238E27FC236}">
                <a16:creationId xmlns:a16="http://schemas.microsoft.com/office/drawing/2014/main" id="{BABE2296-91F2-E531-13C3-A673AC7DAEC7}"/>
              </a:ext>
            </a:extLst>
          </p:cNvPr>
          <p:cNvCxnSpPr>
            <a:cxnSpLocks/>
          </p:cNvCxnSpPr>
          <p:nvPr/>
        </p:nvCxnSpPr>
        <p:spPr>
          <a:xfrm flipV="1">
            <a:off x="4859250" y="3385820"/>
            <a:ext cx="0" cy="1669011"/>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1" name="Slide Number Placeholder 10">
            <a:extLst>
              <a:ext uri="{FF2B5EF4-FFF2-40B4-BE49-F238E27FC236}">
                <a16:creationId xmlns:a16="http://schemas.microsoft.com/office/drawing/2014/main" id="{AEFD57DE-5402-E323-E65B-1EE8C3A4BA18}"/>
              </a:ext>
            </a:extLst>
          </p:cNvPr>
          <p:cNvSpPr>
            <a:spLocks noGrp="1"/>
          </p:cNvSpPr>
          <p:nvPr>
            <p:ph type="sldNum" sz="quarter" idx="12"/>
          </p:nvPr>
        </p:nvSpPr>
        <p:spPr/>
        <p:txBody>
          <a:bodyPr/>
          <a:lstStyle/>
          <a:p>
            <a:fld id="{49ABCAEC-7D34-E549-A96E-FCEDAADBE4B0}" type="slidenum">
              <a:rPr lang="en-US" smtClean="0"/>
              <a:t>5</a:t>
            </a:fld>
            <a:endParaRPr lang="en-US"/>
          </a:p>
        </p:txBody>
      </p:sp>
    </p:spTree>
    <p:extLst>
      <p:ext uri="{BB962C8B-B14F-4D97-AF65-F5344CB8AC3E}">
        <p14:creationId xmlns:p14="http://schemas.microsoft.com/office/powerpoint/2010/main" val="436138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2">
            <a:extLst>
              <a:ext uri="{FF2B5EF4-FFF2-40B4-BE49-F238E27FC236}">
                <a16:creationId xmlns:a16="http://schemas.microsoft.com/office/drawing/2014/main" id="{AD4D45B0-5E57-0366-5454-2587875C7E6C}"/>
              </a:ext>
            </a:extLst>
          </p:cNvPr>
          <p:cNvSpPr txBox="1">
            <a:spLocks/>
          </p:cNvSpPr>
          <p:nvPr/>
        </p:nvSpPr>
        <p:spPr>
          <a:xfrm>
            <a:off x="557295" y="153251"/>
            <a:ext cx="774850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a:defRPr/>
            </a:pPr>
            <a:r>
              <a:rPr kumimoji="0" lang="pt-PT" sz="4000" b="1" i="0" u="none" strike="noStrike" kern="1200" cap="none" spc="0" normalizeH="0" baseline="0" noProof="0">
                <a:ln>
                  <a:noFill/>
                </a:ln>
                <a:solidFill>
                  <a:srgbClr val="000000"/>
                </a:solidFill>
                <a:effectLst/>
                <a:uLnTx/>
                <a:uFillTx/>
                <a:latin typeface="Neue Haas Grotesk Text Pro"/>
                <a:ea typeface="+mj-ea"/>
                <a:cs typeface="+mj-cs"/>
              </a:rPr>
              <a:t>Employee Attrition Indicator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pt-PT" sz="4000" b="1" i="0" u="none" strike="noStrike" kern="1200" cap="none" spc="0" normalizeH="0" baseline="0" noProof="0">
              <a:ln>
                <a:noFill/>
              </a:ln>
              <a:solidFill>
                <a:srgbClr val="000000"/>
              </a:solidFill>
              <a:effectLst/>
              <a:highlight>
                <a:srgbClr val="FFFF00"/>
              </a:highlight>
              <a:uLnTx/>
              <a:uFillTx/>
              <a:latin typeface="Neue Haas Grotesk Text Pro"/>
              <a:ea typeface="+mj-ea"/>
              <a:cs typeface="+mj-cs"/>
            </a:endParaRPr>
          </a:p>
        </p:txBody>
      </p:sp>
      <p:sp>
        <p:nvSpPr>
          <p:cNvPr id="2" name="Text Placeholder 2">
            <a:extLst>
              <a:ext uri="{FF2B5EF4-FFF2-40B4-BE49-F238E27FC236}">
                <a16:creationId xmlns:a16="http://schemas.microsoft.com/office/drawing/2014/main" id="{55EC9EB9-31D0-746C-6198-45C05945FE60}"/>
              </a:ext>
            </a:extLst>
          </p:cNvPr>
          <p:cNvSpPr txBox="1">
            <a:spLocks/>
          </p:cNvSpPr>
          <p:nvPr/>
        </p:nvSpPr>
        <p:spPr>
          <a:xfrm>
            <a:off x="561743" y="834672"/>
            <a:ext cx="9861964" cy="316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panose="00000500000000000000" pitchFamily="2" charset="0"/>
                <a:ea typeface="+mj-lt"/>
                <a:cs typeface="+mj-lt"/>
              </a:rPr>
              <a:t>High employee turn-over has direct impact on the company’s costs.</a:t>
            </a:r>
            <a:endParaRPr lang="pt-PT" sz="1800" b="1">
              <a:solidFill>
                <a:schemeClr val="accent1">
                  <a:lumMod val="75000"/>
                </a:schemeClr>
              </a:solidFill>
              <a:latin typeface="Tenorite" panose="00000500000000000000" pitchFamily="2" charset="0"/>
            </a:endParaRPr>
          </a:p>
        </p:txBody>
      </p:sp>
      <p:sp>
        <p:nvSpPr>
          <p:cNvPr id="15" name="Rectangle 14">
            <a:extLst>
              <a:ext uri="{FF2B5EF4-FFF2-40B4-BE49-F238E27FC236}">
                <a16:creationId xmlns:a16="http://schemas.microsoft.com/office/drawing/2014/main" id="{58118EE6-74C1-A239-EE56-A8DB42D40B4F}"/>
              </a:ext>
            </a:extLst>
          </p:cNvPr>
          <p:cNvSpPr/>
          <p:nvPr/>
        </p:nvSpPr>
        <p:spPr>
          <a:xfrm>
            <a:off x="1195483" y="2628872"/>
            <a:ext cx="2775026" cy="2248997"/>
          </a:xfrm>
          <a:prstGeom prst="rect">
            <a:avLst/>
          </a:prstGeom>
          <a:solidFill>
            <a:srgbClr val="3B9EB1">
              <a:alpha val="30196"/>
            </a:srgbClr>
          </a:solidFill>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PT"/>
          </a:p>
        </p:txBody>
      </p:sp>
      <p:sp>
        <p:nvSpPr>
          <p:cNvPr id="17" name="Rectangle 16">
            <a:extLst>
              <a:ext uri="{FF2B5EF4-FFF2-40B4-BE49-F238E27FC236}">
                <a16:creationId xmlns:a16="http://schemas.microsoft.com/office/drawing/2014/main" id="{14E203C1-74A2-858D-86AF-CB0760C171E1}"/>
              </a:ext>
            </a:extLst>
          </p:cNvPr>
          <p:cNvSpPr/>
          <p:nvPr/>
        </p:nvSpPr>
        <p:spPr>
          <a:xfrm>
            <a:off x="1114274" y="2512269"/>
            <a:ext cx="2765856" cy="2261481"/>
          </a:xfrm>
          <a:prstGeom prst="rect">
            <a:avLst/>
          </a:prstGeom>
          <a:solidFill>
            <a:schemeClr val="bg1"/>
          </a:solidFill>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PT"/>
          </a:p>
        </p:txBody>
      </p:sp>
      <p:sp>
        <p:nvSpPr>
          <p:cNvPr id="21" name="Rectangle 20">
            <a:extLst>
              <a:ext uri="{FF2B5EF4-FFF2-40B4-BE49-F238E27FC236}">
                <a16:creationId xmlns:a16="http://schemas.microsoft.com/office/drawing/2014/main" id="{3A5B20FE-2ACC-6025-3DE2-B740488B7FC8}"/>
              </a:ext>
            </a:extLst>
          </p:cNvPr>
          <p:cNvSpPr/>
          <p:nvPr/>
        </p:nvSpPr>
        <p:spPr>
          <a:xfrm>
            <a:off x="1596201" y="2769777"/>
            <a:ext cx="1888658" cy="707886"/>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4000" b="1" cap="none" spc="0">
                <a:ln/>
                <a:solidFill>
                  <a:schemeClr val="accent1"/>
                </a:solidFill>
                <a:effectLst/>
              </a:rPr>
              <a:t>$1,580</a:t>
            </a:r>
          </a:p>
        </p:txBody>
      </p:sp>
      <p:sp>
        <p:nvSpPr>
          <p:cNvPr id="22" name="Rectangle 21">
            <a:extLst>
              <a:ext uri="{FF2B5EF4-FFF2-40B4-BE49-F238E27FC236}">
                <a16:creationId xmlns:a16="http://schemas.microsoft.com/office/drawing/2014/main" id="{D0AA0C35-C388-3530-6AD7-A73AC5FB02FF}"/>
              </a:ext>
            </a:extLst>
          </p:cNvPr>
          <p:cNvSpPr/>
          <p:nvPr/>
        </p:nvSpPr>
        <p:spPr>
          <a:xfrm>
            <a:off x="1455036" y="3694248"/>
            <a:ext cx="2170991" cy="707886"/>
          </a:xfrm>
          <a:prstGeom prst="rect">
            <a:avLst/>
          </a:prstGeom>
          <a:noFill/>
        </p:spPr>
        <p:txBody>
          <a:bodyPr wrap="square" lIns="91440" tIns="45720" rIns="91440" bIns="45720">
            <a:spAutoFit/>
          </a:bodyPr>
          <a:lstStyle/>
          <a:p>
            <a:pPr algn="ctr"/>
            <a:r>
              <a:rPr lang="en-US" sz="2000" b="1" cap="none" spc="0">
                <a:ln w="0"/>
                <a:solidFill>
                  <a:schemeClr val="tx1"/>
                </a:solidFill>
                <a:effectLst>
                  <a:outerShdw blurRad="38100" dist="19050" dir="2700000" algn="tl" rotWithShape="0">
                    <a:schemeClr val="dk1">
                      <a:alpha val="40000"/>
                    </a:schemeClr>
                  </a:outerShdw>
                </a:effectLst>
                <a:latin typeface="Tenorite" panose="00000500000000000000" pitchFamily="2" charset="0"/>
              </a:rPr>
              <a:t>Individual Cost </a:t>
            </a:r>
            <a:r>
              <a:rPr lang="en-US" sz="2000" b="0" cap="none" spc="0">
                <a:ln w="0"/>
                <a:solidFill>
                  <a:schemeClr val="tx1"/>
                </a:solidFill>
                <a:effectLst>
                  <a:outerShdw blurRad="38100" dist="19050" dir="2700000" algn="tl" rotWithShape="0">
                    <a:schemeClr val="dk1">
                      <a:alpha val="40000"/>
                    </a:schemeClr>
                  </a:outerShdw>
                </a:effectLst>
                <a:latin typeface="Tenorite" panose="00000500000000000000" pitchFamily="2" charset="0"/>
              </a:rPr>
              <a:t>per Employee</a:t>
            </a:r>
          </a:p>
        </p:txBody>
      </p:sp>
      <p:sp>
        <p:nvSpPr>
          <p:cNvPr id="50" name="Rectangle 49">
            <a:extLst>
              <a:ext uri="{FF2B5EF4-FFF2-40B4-BE49-F238E27FC236}">
                <a16:creationId xmlns:a16="http://schemas.microsoft.com/office/drawing/2014/main" id="{A6618617-C9A5-34DC-F7DB-E9ACA54B58A0}"/>
              </a:ext>
            </a:extLst>
          </p:cNvPr>
          <p:cNvSpPr/>
          <p:nvPr/>
        </p:nvSpPr>
        <p:spPr>
          <a:xfrm>
            <a:off x="4547487" y="2628872"/>
            <a:ext cx="2775026" cy="2248997"/>
          </a:xfrm>
          <a:prstGeom prst="rect">
            <a:avLst/>
          </a:prstGeom>
          <a:solidFill>
            <a:srgbClr val="3B9EB1">
              <a:alpha val="30196"/>
            </a:srgbClr>
          </a:solidFill>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PT"/>
          </a:p>
        </p:txBody>
      </p:sp>
      <p:sp>
        <p:nvSpPr>
          <p:cNvPr id="51" name="Rectangle 50">
            <a:extLst>
              <a:ext uri="{FF2B5EF4-FFF2-40B4-BE49-F238E27FC236}">
                <a16:creationId xmlns:a16="http://schemas.microsoft.com/office/drawing/2014/main" id="{BF8CB83B-37C6-A495-3F4E-B445644712AF}"/>
              </a:ext>
            </a:extLst>
          </p:cNvPr>
          <p:cNvSpPr/>
          <p:nvPr/>
        </p:nvSpPr>
        <p:spPr>
          <a:xfrm>
            <a:off x="4466278" y="2512269"/>
            <a:ext cx="2765856" cy="2261481"/>
          </a:xfrm>
          <a:prstGeom prst="rect">
            <a:avLst/>
          </a:prstGeom>
          <a:solidFill>
            <a:schemeClr val="bg1"/>
          </a:solidFill>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PT"/>
          </a:p>
        </p:txBody>
      </p:sp>
      <p:sp>
        <p:nvSpPr>
          <p:cNvPr id="52" name="Rectangle 51">
            <a:extLst>
              <a:ext uri="{FF2B5EF4-FFF2-40B4-BE49-F238E27FC236}">
                <a16:creationId xmlns:a16="http://schemas.microsoft.com/office/drawing/2014/main" id="{3CFFCA32-A59B-ABFE-EF76-4DDBEB7AC693}"/>
              </a:ext>
            </a:extLst>
          </p:cNvPr>
          <p:cNvSpPr/>
          <p:nvPr/>
        </p:nvSpPr>
        <p:spPr>
          <a:xfrm>
            <a:off x="4546606" y="2749316"/>
            <a:ext cx="2605200" cy="707886"/>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4000" b="1" cap="none" spc="0">
                <a:ln/>
                <a:solidFill>
                  <a:schemeClr val="accent1"/>
                </a:solidFill>
                <a:effectLst/>
              </a:rPr>
              <a:t>$374,399</a:t>
            </a:r>
          </a:p>
        </p:txBody>
      </p:sp>
      <p:sp>
        <p:nvSpPr>
          <p:cNvPr id="53" name="Rectangle 52">
            <a:extLst>
              <a:ext uri="{FF2B5EF4-FFF2-40B4-BE49-F238E27FC236}">
                <a16:creationId xmlns:a16="http://schemas.microsoft.com/office/drawing/2014/main" id="{6B4D8E7A-1218-C28F-B53C-90D7868DF929}"/>
              </a:ext>
            </a:extLst>
          </p:cNvPr>
          <p:cNvSpPr/>
          <p:nvPr/>
        </p:nvSpPr>
        <p:spPr>
          <a:xfrm>
            <a:off x="4573864" y="3694248"/>
            <a:ext cx="2577942" cy="646331"/>
          </a:xfrm>
          <a:prstGeom prst="rect">
            <a:avLst/>
          </a:prstGeom>
          <a:noFill/>
        </p:spPr>
        <p:txBody>
          <a:bodyPr wrap="square" lIns="91440" tIns="45720" rIns="91440" bIns="45720">
            <a:spAutoFit/>
          </a:bodyPr>
          <a:lstStyle/>
          <a:p>
            <a:pPr algn="ctr"/>
            <a:r>
              <a:rPr lang="en-US" sz="2000" b="1" cap="none" spc="0">
                <a:ln w="0"/>
                <a:solidFill>
                  <a:schemeClr val="tx1"/>
                </a:solidFill>
                <a:effectLst>
                  <a:outerShdw blurRad="38100" dist="19050" dir="2700000" algn="tl" rotWithShape="0">
                    <a:schemeClr val="dk1">
                      <a:alpha val="40000"/>
                    </a:schemeClr>
                  </a:outerShdw>
                </a:effectLst>
                <a:latin typeface="Tenorite" panose="00000500000000000000" pitchFamily="2" charset="0"/>
              </a:rPr>
              <a:t>Total Cost</a:t>
            </a:r>
          </a:p>
          <a:p>
            <a:pPr algn="ctr"/>
            <a:r>
              <a:rPr lang="en-US" sz="1600">
                <a:ln w="0"/>
                <a:effectLst>
                  <a:outerShdw blurRad="38100" dist="19050" dir="2700000" algn="tl" rotWithShape="0">
                    <a:schemeClr val="dk1">
                      <a:alpha val="40000"/>
                    </a:schemeClr>
                  </a:outerShdw>
                </a:effectLst>
                <a:latin typeface="Tenorite" panose="00000500000000000000" pitchFamily="2" charset="0"/>
              </a:rPr>
              <a:t>(Current Attrition Levels)</a:t>
            </a:r>
            <a:endParaRPr lang="en-US" sz="1600" b="0" cap="none" spc="0">
              <a:ln w="0"/>
              <a:solidFill>
                <a:schemeClr val="tx1"/>
              </a:solidFill>
              <a:effectLst>
                <a:outerShdw blurRad="38100" dist="19050" dir="2700000" algn="tl" rotWithShape="0">
                  <a:schemeClr val="dk1">
                    <a:alpha val="40000"/>
                  </a:schemeClr>
                </a:outerShdw>
              </a:effectLst>
              <a:latin typeface="Tenorite" panose="00000500000000000000" pitchFamily="2" charset="0"/>
            </a:endParaRPr>
          </a:p>
        </p:txBody>
      </p:sp>
      <p:sp>
        <p:nvSpPr>
          <p:cNvPr id="54" name="Rectangle 53">
            <a:extLst>
              <a:ext uri="{FF2B5EF4-FFF2-40B4-BE49-F238E27FC236}">
                <a16:creationId xmlns:a16="http://schemas.microsoft.com/office/drawing/2014/main" id="{8873C6D4-73C8-2E6F-BB3D-5EC3000EFCFB}"/>
              </a:ext>
            </a:extLst>
          </p:cNvPr>
          <p:cNvSpPr/>
          <p:nvPr/>
        </p:nvSpPr>
        <p:spPr>
          <a:xfrm>
            <a:off x="7899491" y="2655094"/>
            <a:ext cx="2775026" cy="2248997"/>
          </a:xfrm>
          <a:prstGeom prst="rect">
            <a:avLst/>
          </a:prstGeom>
          <a:solidFill>
            <a:srgbClr val="3B9EB1">
              <a:alpha val="30196"/>
            </a:srgbClr>
          </a:solidFill>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PT"/>
          </a:p>
        </p:txBody>
      </p:sp>
      <p:sp>
        <p:nvSpPr>
          <p:cNvPr id="55" name="Rectangle 54">
            <a:extLst>
              <a:ext uri="{FF2B5EF4-FFF2-40B4-BE49-F238E27FC236}">
                <a16:creationId xmlns:a16="http://schemas.microsoft.com/office/drawing/2014/main" id="{811FD817-94B4-6B30-8909-7E478C1DAEDF}"/>
              </a:ext>
            </a:extLst>
          </p:cNvPr>
          <p:cNvSpPr/>
          <p:nvPr/>
        </p:nvSpPr>
        <p:spPr>
          <a:xfrm>
            <a:off x="7818282" y="2538491"/>
            <a:ext cx="2765856" cy="2261481"/>
          </a:xfrm>
          <a:prstGeom prst="rect">
            <a:avLst/>
          </a:prstGeom>
          <a:solidFill>
            <a:schemeClr val="bg1"/>
          </a:solidFill>
          <a:ln>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PT"/>
          </a:p>
        </p:txBody>
      </p:sp>
      <p:sp>
        <p:nvSpPr>
          <p:cNvPr id="56" name="Rectangle 55">
            <a:extLst>
              <a:ext uri="{FF2B5EF4-FFF2-40B4-BE49-F238E27FC236}">
                <a16:creationId xmlns:a16="http://schemas.microsoft.com/office/drawing/2014/main" id="{0C04503F-F0F5-1D30-5F65-44CF9F96C7CD}"/>
              </a:ext>
            </a:extLst>
          </p:cNvPr>
          <p:cNvSpPr/>
          <p:nvPr/>
        </p:nvSpPr>
        <p:spPr>
          <a:xfrm>
            <a:off x="8065369" y="2795999"/>
            <a:ext cx="2358338" cy="707886"/>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4000" b="1" cap="none" spc="0">
                <a:ln/>
                <a:solidFill>
                  <a:schemeClr val="accent1"/>
                </a:solidFill>
                <a:effectLst/>
              </a:rPr>
              <a:t>$30,044</a:t>
            </a:r>
          </a:p>
        </p:txBody>
      </p:sp>
      <p:sp>
        <p:nvSpPr>
          <p:cNvPr id="57" name="Rectangle 56">
            <a:extLst>
              <a:ext uri="{FF2B5EF4-FFF2-40B4-BE49-F238E27FC236}">
                <a16:creationId xmlns:a16="http://schemas.microsoft.com/office/drawing/2014/main" id="{7D6D25B8-2FE6-5117-F767-E11448BFBCD4}"/>
              </a:ext>
            </a:extLst>
          </p:cNvPr>
          <p:cNvSpPr/>
          <p:nvPr/>
        </p:nvSpPr>
        <p:spPr>
          <a:xfrm>
            <a:off x="8143007" y="3690832"/>
            <a:ext cx="2358338" cy="707886"/>
          </a:xfrm>
          <a:prstGeom prst="rect">
            <a:avLst/>
          </a:prstGeom>
          <a:noFill/>
        </p:spPr>
        <p:txBody>
          <a:bodyPr wrap="square" lIns="91440" tIns="45720" rIns="91440" bIns="45720">
            <a:spAutoFit/>
          </a:bodyPr>
          <a:lstStyle/>
          <a:p>
            <a:pPr algn="ctr"/>
            <a:r>
              <a:rPr lang="en-US" sz="2000" b="1" cap="none" spc="0">
                <a:ln w="0"/>
                <a:solidFill>
                  <a:schemeClr val="tx1"/>
                </a:solidFill>
                <a:effectLst>
                  <a:outerShdw blurRad="38100" dist="19050" dir="2700000" algn="tl" rotWithShape="0">
                    <a:schemeClr val="dk1">
                      <a:alpha val="40000"/>
                    </a:schemeClr>
                  </a:outerShdw>
                </a:effectLst>
                <a:latin typeface="Tenorite" panose="00000500000000000000" pitchFamily="2" charset="0"/>
              </a:rPr>
              <a:t>Cost of 1% increase </a:t>
            </a:r>
            <a:r>
              <a:rPr lang="en-US" sz="2000" cap="none" spc="0">
                <a:ln w="0"/>
                <a:solidFill>
                  <a:schemeClr val="tx1"/>
                </a:solidFill>
                <a:effectLst>
                  <a:outerShdw blurRad="38100" dist="19050" dir="2700000" algn="tl" rotWithShape="0">
                    <a:schemeClr val="dk1">
                      <a:alpha val="40000"/>
                    </a:schemeClr>
                  </a:outerShdw>
                </a:effectLst>
                <a:latin typeface="Tenorite" panose="00000500000000000000" pitchFamily="2" charset="0"/>
              </a:rPr>
              <a:t>in Attrition</a:t>
            </a:r>
          </a:p>
        </p:txBody>
      </p:sp>
      <p:pic>
        <p:nvPicPr>
          <p:cNvPr id="3" name="Picture 2" descr="Earning">
            <a:extLst>
              <a:ext uri="{FF2B5EF4-FFF2-40B4-BE49-F238E27FC236}">
                <a16:creationId xmlns:a16="http://schemas.microsoft.com/office/drawing/2014/main" id="{4D3D801D-C399-3E60-576A-12E0D70913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527" y="1322701"/>
            <a:ext cx="780955" cy="78095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B7F92D32-3601-59E9-ACE9-959428E3FA7B}"/>
              </a:ext>
            </a:extLst>
          </p:cNvPr>
          <p:cNvSpPr>
            <a:spLocks noGrp="1"/>
          </p:cNvSpPr>
          <p:nvPr>
            <p:ph type="sldNum" sz="quarter" idx="12"/>
          </p:nvPr>
        </p:nvSpPr>
        <p:spPr/>
        <p:txBody>
          <a:bodyPr/>
          <a:lstStyle/>
          <a:p>
            <a:fld id="{49ABCAEC-7D34-E549-A96E-FCEDAADBE4B0}" type="slidenum">
              <a:rPr lang="en-US" smtClean="0"/>
              <a:t>6</a:t>
            </a:fld>
            <a:endParaRPr lang="en-US"/>
          </a:p>
        </p:txBody>
      </p:sp>
    </p:spTree>
    <p:extLst>
      <p:ext uri="{BB962C8B-B14F-4D97-AF65-F5344CB8AC3E}">
        <p14:creationId xmlns:p14="http://schemas.microsoft.com/office/powerpoint/2010/main" val="41794369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080201A8-8130-9940-0CF2-C0372A44A88D}"/>
              </a:ext>
            </a:extLst>
          </p:cNvPr>
          <p:cNvSpPr txBox="1">
            <a:spLocks/>
          </p:cNvSpPr>
          <p:nvPr/>
        </p:nvSpPr>
        <p:spPr>
          <a:xfrm>
            <a:off x="824261" y="1715616"/>
            <a:ext cx="5042954" cy="39956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rgbClr val="3B9EB1">
                    <a:lumMod val="75000"/>
                  </a:srgbClr>
                </a:solidFill>
                <a:effectLst/>
                <a:uLnTx/>
                <a:uFillTx/>
                <a:latin typeface="Tenorite"/>
                <a:ea typeface="+mn-ea"/>
                <a:cs typeface="+mn-cs"/>
              </a:rPr>
              <a:t>Exploring Demographics, Lifestyle, Career Development</a:t>
            </a:r>
          </a:p>
        </p:txBody>
      </p:sp>
      <p:sp>
        <p:nvSpPr>
          <p:cNvPr id="11" name="Text Placeholder 7">
            <a:extLst>
              <a:ext uri="{FF2B5EF4-FFF2-40B4-BE49-F238E27FC236}">
                <a16:creationId xmlns:a16="http://schemas.microsoft.com/office/drawing/2014/main" id="{ED751B13-18AC-48F0-FFEE-047FE223283B}"/>
              </a:ext>
            </a:extLst>
          </p:cNvPr>
          <p:cNvSpPr txBox="1">
            <a:spLocks/>
          </p:cNvSpPr>
          <p:nvPr/>
        </p:nvSpPr>
        <p:spPr>
          <a:xfrm>
            <a:off x="824261" y="2718167"/>
            <a:ext cx="7076114" cy="350209"/>
          </a:xfrm>
          <a:prstGeom prst="rect">
            <a:avLst/>
          </a:prstGeom>
          <a:solidFill>
            <a:srgbClr val="FFFFFF">
              <a:alpha val="69804"/>
            </a:srgbClr>
          </a:solidFill>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rgbClr val="3B9EB1">
                    <a:lumMod val="75000"/>
                  </a:srgbClr>
                </a:solidFill>
                <a:effectLst/>
                <a:uLnTx/>
                <a:uFillTx/>
                <a:latin typeface="Tenorite"/>
                <a:ea typeface="+mn-ea"/>
                <a:cs typeface="+mn-cs"/>
              </a:rPr>
              <a:t>Identify main factors contributing to the employee’s decision to leave the company</a:t>
            </a:r>
            <a:endParaRPr kumimoji="0" lang="en-US" sz="1400"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endParaRPr>
          </a:p>
        </p:txBody>
      </p:sp>
      <p:sp>
        <p:nvSpPr>
          <p:cNvPr id="16" name="Title 2">
            <a:extLst>
              <a:ext uri="{FF2B5EF4-FFF2-40B4-BE49-F238E27FC236}">
                <a16:creationId xmlns:a16="http://schemas.microsoft.com/office/drawing/2014/main" id="{DF29E7B4-6607-540B-2D74-612452C5FB5A}"/>
              </a:ext>
            </a:extLst>
          </p:cNvPr>
          <p:cNvSpPr txBox="1">
            <a:spLocks/>
          </p:cNvSpPr>
          <p:nvPr/>
        </p:nvSpPr>
        <p:spPr>
          <a:xfrm>
            <a:off x="557295" y="153251"/>
            <a:ext cx="733583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a:ln>
                  <a:noFill/>
                </a:ln>
                <a:solidFill>
                  <a:srgbClr val="000000"/>
                </a:solidFill>
                <a:effectLst/>
                <a:uLnTx/>
                <a:uFillTx/>
                <a:latin typeface="Neue Haas Grotesk Text Pro"/>
                <a:ea typeface="+mj-ea"/>
                <a:cs typeface="+mj-cs"/>
              </a:rPr>
              <a:t>Main Project Goals</a:t>
            </a:r>
          </a:p>
        </p:txBody>
      </p:sp>
      <p:sp>
        <p:nvSpPr>
          <p:cNvPr id="3" name="Text Placeholder 6">
            <a:extLst>
              <a:ext uri="{FF2B5EF4-FFF2-40B4-BE49-F238E27FC236}">
                <a16:creationId xmlns:a16="http://schemas.microsoft.com/office/drawing/2014/main" id="{5546F4E6-8DC5-1A81-2628-26990ECC3B32}"/>
              </a:ext>
            </a:extLst>
          </p:cNvPr>
          <p:cNvSpPr txBox="1">
            <a:spLocks/>
          </p:cNvSpPr>
          <p:nvPr/>
        </p:nvSpPr>
        <p:spPr>
          <a:xfrm>
            <a:off x="888792" y="3754108"/>
            <a:ext cx="5042954" cy="39956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rgbClr val="3B9EB1">
                    <a:lumMod val="75000"/>
                  </a:srgbClr>
                </a:solidFill>
                <a:effectLst/>
                <a:uLnTx/>
                <a:uFillTx/>
                <a:latin typeface="Tenorite"/>
                <a:ea typeface="+mn-ea"/>
                <a:cs typeface="+mn-cs"/>
              </a:rPr>
              <a:t>Predicting future employee exits</a:t>
            </a:r>
          </a:p>
        </p:txBody>
      </p:sp>
      <p:sp>
        <p:nvSpPr>
          <p:cNvPr id="4" name="Text Placeholder 6">
            <a:extLst>
              <a:ext uri="{FF2B5EF4-FFF2-40B4-BE49-F238E27FC236}">
                <a16:creationId xmlns:a16="http://schemas.microsoft.com/office/drawing/2014/main" id="{DD68A98E-A2B6-F0B8-6AA0-4A06453DDEB1}"/>
              </a:ext>
            </a:extLst>
          </p:cNvPr>
          <p:cNvSpPr txBox="1">
            <a:spLocks/>
          </p:cNvSpPr>
          <p:nvPr/>
        </p:nvSpPr>
        <p:spPr>
          <a:xfrm>
            <a:off x="888792" y="4783692"/>
            <a:ext cx="8134893" cy="707218"/>
          </a:xfrm>
          <a:prstGeom prst="rect">
            <a:avLst/>
          </a:prstGeom>
          <a:solidFill>
            <a:srgbClr val="FFFFFF">
              <a:alpha val="69804"/>
            </a:srgbClr>
          </a:solidFill>
          <a:ln>
            <a:noFill/>
          </a:ln>
        </p:spPr>
        <p:txBody>
          <a:bodyPr vert="horz" lIns="91440" tIns="45720" rIns="91440" bIns="45720" rtlCol="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50" normalizeH="0" baseline="0" noProof="0">
                <a:ln>
                  <a:noFill/>
                </a:ln>
                <a:solidFill>
                  <a:srgbClr val="3B9EB1">
                    <a:lumMod val="75000"/>
                  </a:srgbClr>
                </a:solidFill>
                <a:effectLst/>
                <a:uLnTx/>
                <a:uFillTx/>
                <a:latin typeface="Tenorite"/>
                <a:ea typeface="+mn-ea"/>
                <a:cs typeface="+mn-cs"/>
              </a:rPr>
              <a:t>Propose Retention Strategies that can be implemented to target the factors causing attrition</a:t>
            </a:r>
          </a:p>
        </p:txBody>
      </p:sp>
      <p:graphicFrame>
        <p:nvGraphicFramePr>
          <p:cNvPr id="2" name="Diagram 1">
            <a:extLst>
              <a:ext uri="{FF2B5EF4-FFF2-40B4-BE49-F238E27FC236}">
                <a16:creationId xmlns:a16="http://schemas.microsoft.com/office/drawing/2014/main" id="{05540156-63B3-F0B3-69B0-850741C21F54}"/>
              </a:ext>
            </a:extLst>
          </p:cNvPr>
          <p:cNvGraphicFramePr/>
          <p:nvPr>
            <p:extLst>
              <p:ext uri="{D42A27DB-BD31-4B8C-83A1-F6EECF244321}">
                <p14:modId xmlns:p14="http://schemas.microsoft.com/office/powerpoint/2010/main" val="3853170965"/>
              </p:ext>
            </p:extLst>
          </p:nvPr>
        </p:nvGraphicFramePr>
        <p:xfrm>
          <a:off x="698641" y="1422235"/>
          <a:ext cx="7600232" cy="40461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93FA284F-DFD8-D479-E0FF-E8E79C1CEEBC}"/>
              </a:ext>
            </a:extLst>
          </p:cNvPr>
          <p:cNvSpPr>
            <a:spLocks noGrp="1"/>
          </p:cNvSpPr>
          <p:nvPr>
            <p:ph type="sldNum" sz="quarter" idx="12"/>
          </p:nvPr>
        </p:nvSpPr>
        <p:spPr/>
        <p:txBody>
          <a:bodyPr/>
          <a:lstStyle/>
          <a:p>
            <a:fld id="{49ABCAEC-7D34-E549-A96E-FCEDAADBE4B0}" type="slidenum">
              <a:rPr lang="en-US" smtClean="0"/>
              <a:t>7</a:t>
            </a:fld>
            <a:endParaRPr lang="en-US"/>
          </a:p>
        </p:txBody>
      </p:sp>
    </p:spTree>
    <p:extLst>
      <p:ext uri="{BB962C8B-B14F-4D97-AF65-F5344CB8AC3E}">
        <p14:creationId xmlns:p14="http://schemas.microsoft.com/office/powerpoint/2010/main" val="26004687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3A2D063-11E1-A5A1-DDA0-42EBE6078EAE}"/>
              </a:ext>
            </a:extLst>
          </p:cNvPr>
          <p:cNvSpPr/>
          <p:nvPr/>
        </p:nvSpPr>
        <p:spPr>
          <a:xfrm>
            <a:off x="659671" y="2866293"/>
            <a:ext cx="2759093" cy="2087840"/>
          </a:xfrm>
          <a:prstGeom prst="rect">
            <a:avLst/>
          </a:prstGeom>
          <a:solidFill>
            <a:schemeClr val="bg1"/>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pt-PT" sz="1200">
                <a:solidFill>
                  <a:schemeClr val="tx1">
                    <a:lumMod val="65000"/>
                    <a:lumOff val="35000"/>
                  </a:schemeClr>
                </a:solidFill>
                <a:latin typeface="Tenorite" panose="00000500000000000000" pitchFamily="2" charset="0"/>
              </a:rPr>
              <a:t>Gender distribution</a:t>
            </a:r>
          </a:p>
          <a:p>
            <a:pPr algn="ctr"/>
            <a:endParaRPr lang="pt-PT">
              <a:latin typeface="Tenorite" panose="00000500000000000000" pitchFamily="2" charset="0"/>
            </a:endParaRPr>
          </a:p>
          <a:p>
            <a:pPr algn="ctr"/>
            <a:endParaRPr lang="pt-PT">
              <a:latin typeface="Tenorite" panose="00000500000000000000" pitchFamily="2" charset="0"/>
            </a:endParaRPr>
          </a:p>
          <a:p>
            <a:pPr algn="ctr"/>
            <a:endParaRPr lang="pt-PT">
              <a:latin typeface="Tenorite" panose="00000500000000000000" pitchFamily="2" charset="0"/>
            </a:endParaRPr>
          </a:p>
          <a:p>
            <a:pPr algn="ctr"/>
            <a:endParaRPr lang="pt-PT">
              <a:latin typeface="Tenorite" panose="00000500000000000000" pitchFamily="2" charset="0"/>
            </a:endParaRPr>
          </a:p>
          <a:p>
            <a:pPr algn="ctr"/>
            <a:endParaRPr lang="pt-PT">
              <a:latin typeface="Tenorite" panose="00000500000000000000" pitchFamily="2" charset="0"/>
            </a:endParaRPr>
          </a:p>
          <a:p>
            <a:pPr algn="ctr"/>
            <a:endParaRPr lang="pt-PT">
              <a:latin typeface="Tenorite" panose="00000500000000000000" pitchFamily="2" charset="0"/>
            </a:endParaRPr>
          </a:p>
        </p:txBody>
      </p:sp>
      <p:sp>
        <p:nvSpPr>
          <p:cNvPr id="16" name="Title 2">
            <a:extLst>
              <a:ext uri="{FF2B5EF4-FFF2-40B4-BE49-F238E27FC236}">
                <a16:creationId xmlns:a16="http://schemas.microsoft.com/office/drawing/2014/main" id="{DF29E7B4-6607-540B-2D74-612452C5FB5A}"/>
              </a:ext>
            </a:extLst>
          </p:cNvPr>
          <p:cNvSpPr txBox="1">
            <a:spLocks/>
          </p:cNvSpPr>
          <p:nvPr/>
        </p:nvSpPr>
        <p:spPr>
          <a:xfrm>
            <a:off x="557295" y="153251"/>
            <a:ext cx="733583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PT" sz="4000" b="1" i="0" u="none" strike="noStrike" kern="1200" cap="none" spc="0" normalizeH="0" baseline="0" noProof="0">
                <a:ln>
                  <a:noFill/>
                </a:ln>
                <a:solidFill>
                  <a:srgbClr val="000000"/>
                </a:solidFill>
                <a:effectLst/>
                <a:uLnTx/>
                <a:uFillTx/>
                <a:latin typeface="Neue Haas Grotesk Text Pro"/>
                <a:ea typeface="+mj-ea"/>
                <a:cs typeface="+mj-cs"/>
              </a:rPr>
              <a:t>Team Profile: Demographics</a:t>
            </a:r>
          </a:p>
        </p:txBody>
      </p:sp>
      <p:sp>
        <p:nvSpPr>
          <p:cNvPr id="6" name="Text Placeholder 2">
            <a:extLst>
              <a:ext uri="{FF2B5EF4-FFF2-40B4-BE49-F238E27FC236}">
                <a16:creationId xmlns:a16="http://schemas.microsoft.com/office/drawing/2014/main" id="{30C7E2AE-AEA0-D6E9-7253-4F9C0CE33169}"/>
              </a:ext>
            </a:extLst>
          </p:cNvPr>
          <p:cNvSpPr txBox="1">
            <a:spLocks/>
          </p:cNvSpPr>
          <p:nvPr/>
        </p:nvSpPr>
        <p:spPr>
          <a:xfrm>
            <a:off x="561743" y="834672"/>
            <a:ext cx="9861964" cy="316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panose="00000500000000000000" pitchFamily="2" charset="0"/>
                <a:ea typeface="+mj-lt"/>
                <a:cs typeface="+mj-lt"/>
              </a:rPr>
              <a:t>Majority of employees are male and married, being on average 37 years old. </a:t>
            </a:r>
            <a:endParaRPr lang="pt-PT" sz="1800" b="1">
              <a:solidFill>
                <a:schemeClr val="accent1">
                  <a:lumMod val="75000"/>
                </a:schemeClr>
              </a:solidFill>
              <a:latin typeface="Tenorite" panose="00000500000000000000" pitchFamily="2" charset="0"/>
            </a:endParaRPr>
          </a:p>
        </p:txBody>
      </p:sp>
      <p:sp>
        <p:nvSpPr>
          <p:cNvPr id="9" name="Rectangle 8">
            <a:extLst>
              <a:ext uri="{FF2B5EF4-FFF2-40B4-BE49-F238E27FC236}">
                <a16:creationId xmlns:a16="http://schemas.microsoft.com/office/drawing/2014/main" id="{8DF37918-8726-3BD6-6B77-4AA2E48440FA}"/>
              </a:ext>
            </a:extLst>
          </p:cNvPr>
          <p:cNvSpPr/>
          <p:nvPr/>
        </p:nvSpPr>
        <p:spPr>
          <a:xfrm>
            <a:off x="2738603" y="3834439"/>
            <a:ext cx="689997" cy="738664"/>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b="1" cap="none" spc="0">
                <a:ln/>
                <a:effectLst/>
                <a:latin typeface="Tenorite" panose="00000500000000000000" pitchFamily="2" charset="0"/>
              </a:rPr>
              <a:t>Male</a:t>
            </a:r>
          </a:p>
          <a:p>
            <a:pPr algn="ctr"/>
            <a:r>
              <a:rPr lang="en-US" sz="2400" b="1" cap="none" spc="0">
                <a:ln/>
                <a:solidFill>
                  <a:schemeClr val="accent1"/>
                </a:solidFill>
                <a:effectLst/>
                <a:latin typeface="Tenorite" panose="00000500000000000000" pitchFamily="2" charset="0"/>
              </a:rPr>
              <a:t>60%</a:t>
            </a:r>
          </a:p>
        </p:txBody>
      </p:sp>
      <p:sp>
        <p:nvSpPr>
          <p:cNvPr id="12" name="Rectangle 11">
            <a:extLst>
              <a:ext uri="{FF2B5EF4-FFF2-40B4-BE49-F238E27FC236}">
                <a16:creationId xmlns:a16="http://schemas.microsoft.com/office/drawing/2014/main" id="{76BAA5AB-6950-11A1-9D39-C37F1320911B}"/>
              </a:ext>
            </a:extLst>
          </p:cNvPr>
          <p:cNvSpPr/>
          <p:nvPr/>
        </p:nvSpPr>
        <p:spPr>
          <a:xfrm>
            <a:off x="659671" y="3807049"/>
            <a:ext cx="907877" cy="738664"/>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b="1" cap="none" spc="0">
                <a:ln/>
                <a:effectLst/>
                <a:latin typeface="Tenorite" panose="00000500000000000000" pitchFamily="2" charset="0"/>
              </a:rPr>
              <a:t>Female</a:t>
            </a:r>
          </a:p>
          <a:p>
            <a:pPr algn="ctr"/>
            <a:r>
              <a:rPr lang="en-US" sz="2400" b="1" cap="none" spc="0">
                <a:ln/>
                <a:solidFill>
                  <a:schemeClr val="accent1"/>
                </a:solidFill>
                <a:effectLst/>
                <a:latin typeface="Tenorite" panose="00000500000000000000" pitchFamily="2" charset="0"/>
              </a:rPr>
              <a:t>40%</a:t>
            </a:r>
          </a:p>
        </p:txBody>
      </p:sp>
      <p:pic>
        <p:nvPicPr>
          <p:cNvPr id="19" name="Picture 6" descr="Female and male shapes silhouettes ">
            <a:extLst>
              <a:ext uri="{FF2B5EF4-FFF2-40B4-BE49-F238E27FC236}">
                <a16:creationId xmlns:a16="http://schemas.microsoft.com/office/drawing/2014/main" id="{965F84CA-7EA8-7B3A-7A06-B3A34FCE8B4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519"/>
          <a:stretch/>
        </p:blipFill>
        <p:spPr bwMode="auto">
          <a:xfrm>
            <a:off x="2163915" y="3429000"/>
            <a:ext cx="595101" cy="117886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Female and male shapes silhouettes ">
            <a:extLst>
              <a:ext uri="{FF2B5EF4-FFF2-40B4-BE49-F238E27FC236}">
                <a16:creationId xmlns:a16="http://schemas.microsoft.com/office/drawing/2014/main" id="{B2778033-D633-FA57-4A52-B600FC15AA5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9519"/>
          <a:stretch/>
        </p:blipFill>
        <p:spPr bwMode="auto">
          <a:xfrm>
            <a:off x="1544674" y="3738637"/>
            <a:ext cx="441953" cy="875488"/>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cx1="http://schemas.microsoft.com/office/drawing/2015/9/8/chartex" Requires="cx1">
          <p:graphicFrame>
            <p:nvGraphicFramePr>
              <p:cNvPr id="26" name="Content Placeholder 16" descr="Chart type: Histogram. Frequency of 'Age'&#10;&#10;Description automatically generated">
                <a:extLst>
                  <a:ext uri="{FF2B5EF4-FFF2-40B4-BE49-F238E27FC236}">
                    <a16:creationId xmlns:a16="http://schemas.microsoft.com/office/drawing/2014/main" id="{0F8CC64E-C4C5-E669-8827-6526EF1EC332}"/>
                  </a:ext>
                </a:extLst>
              </p:cNvPr>
              <p:cNvGraphicFramePr>
                <a:graphicFrameLocks/>
              </p:cNvGraphicFramePr>
              <p:nvPr>
                <p:extLst>
                  <p:ext uri="{D42A27DB-BD31-4B8C-83A1-F6EECF244321}">
                    <p14:modId xmlns:p14="http://schemas.microsoft.com/office/powerpoint/2010/main" val="3404618975"/>
                  </p:ext>
                </p:extLst>
              </p:nvPr>
            </p:nvGraphicFramePr>
            <p:xfrm>
              <a:off x="7159886" y="2825086"/>
              <a:ext cx="4424790" cy="2210937"/>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26" name="Content Placeholder 16" descr="Chart type: Histogram. Frequency of 'Age'&#10;&#10;Description automatically generated">
                <a:extLst>
                  <a:ext uri="{FF2B5EF4-FFF2-40B4-BE49-F238E27FC236}">
                    <a16:creationId xmlns:a16="http://schemas.microsoft.com/office/drawing/2014/main" id="{0F8CC64E-C4C5-E669-8827-6526EF1EC332}"/>
                  </a:ext>
                </a:extLst>
              </p:cNvPr>
              <p:cNvPicPr>
                <a:picLocks noGrp="1" noRot="1" noChangeAspect="1" noMove="1" noResize="1" noEditPoints="1" noAdjustHandles="1" noChangeArrowheads="1" noChangeShapeType="1"/>
              </p:cNvPicPr>
              <p:nvPr/>
            </p:nvPicPr>
            <p:blipFill>
              <a:blip r:embed="rId4"/>
              <a:stretch>
                <a:fillRect/>
              </a:stretch>
            </p:blipFill>
            <p:spPr>
              <a:xfrm>
                <a:off x="7159886" y="2825086"/>
                <a:ext cx="4424790" cy="2210937"/>
              </a:xfrm>
              <a:prstGeom prst="rect">
                <a:avLst/>
              </a:prstGeom>
            </p:spPr>
          </p:pic>
        </mc:Fallback>
      </mc:AlternateContent>
      <p:graphicFrame>
        <p:nvGraphicFramePr>
          <p:cNvPr id="27" name="Chart 26" descr="Chart type: Clustered Bar. Percentage distribution of 'MaritalStatus'&#10;&#10;Description automatically generated">
            <a:extLst>
              <a:ext uri="{FF2B5EF4-FFF2-40B4-BE49-F238E27FC236}">
                <a16:creationId xmlns:a16="http://schemas.microsoft.com/office/drawing/2014/main" id="{CFD9DF28-3750-4A2D-2F81-477161B50BAF}"/>
              </a:ext>
            </a:extLst>
          </p:cNvPr>
          <p:cNvGraphicFramePr>
            <a:graphicFrameLocks/>
          </p:cNvGraphicFramePr>
          <p:nvPr>
            <p:extLst>
              <p:ext uri="{D42A27DB-BD31-4B8C-83A1-F6EECF244321}">
                <p14:modId xmlns:p14="http://schemas.microsoft.com/office/powerpoint/2010/main" val="2562101939"/>
              </p:ext>
            </p:extLst>
          </p:nvPr>
        </p:nvGraphicFramePr>
        <p:xfrm>
          <a:off x="3765913" y="2825086"/>
          <a:ext cx="3162829" cy="2210937"/>
        </p:xfrm>
        <a:graphic>
          <a:graphicData uri="http://schemas.openxmlformats.org/drawingml/2006/chart">
            <c:chart xmlns:c="http://schemas.openxmlformats.org/drawingml/2006/chart" xmlns:r="http://schemas.openxmlformats.org/officeDocument/2006/relationships" r:id="rId5"/>
          </a:graphicData>
        </a:graphic>
      </p:graphicFrame>
      <p:sp>
        <p:nvSpPr>
          <p:cNvPr id="3081" name="Text Placeholder 6">
            <a:extLst>
              <a:ext uri="{FF2B5EF4-FFF2-40B4-BE49-F238E27FC236}">
                <a16:creationId xmlns:a16="http://schemas.microsoft.com/office/drawing/2014/main" id="{71BB6D61-E2F2-07AA-6C37-F01F91BCF823}"/>
              </a:ext>
            </a:extLst>
          </p:cNvPr>
          <p:cNvSpPr txBox="1">
            <a:spLocks/>
          </p:cNvSpPr>
          <p:nvPr/>
        </p:nvSpPr>
        <p:spPr>
          <a:xfrm>
            <a:off x="607325" y="1952403"/>
            <a:ext cx="2927445" cy="77385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At BI4ALL, </a:t>
            </a:r>
            <a:r>
              <a:rPr lang="en-US">
                <a:solidFill>
                  <a:sysClr val="windowText" lastClr="000000">
                    <a:lumMod val="75000"/>
                    <a:lumOff val="25000"/>
                  </a:sysClr>
                </a:solidFill>
                <a:latin typeface="Tenorite"/>
              </a:rPr>
              <a:t>t</a:t>
            </a: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here are </a:t>
            </a:r>
            <a:r>
              <a:rPr lang="en-US" b="1">
                <a:solidFill>
                  <a:schemeClr val="accent1">
                    <a:lumMod val="75000"/>
                  </a:schemeClr>
                </a:solidFill>
                <a:latin typeface="Tenorite"/>
              </a:rPr>
              <a:t>more male than female</a:t>
            </a:r>
            <a:r>
              <a:rPr lang="en-US">
                <a:solidFill>
                  <a:srgbClr val="3B9EB1"/>
                </a:solidFill>
                <a:latin typeface="Tenorite" panose="00000500000000000000" pitchFamily="2" charset="0"/>
              </a:rPr>
              <a:t> </a:t>
            </a:r>
            <a:r>
              <a:rPr lang="en-US">
                <a:solidFill>
                  <a:srgbClr val="000000">
                    <a:lumMod val="75000"/>
                    <a:lumOff val="25000"/>
                  </a:srgbClr>
                </a:solidFill>
                <a:latin typeface="Tenorite" panose="00000500000000000000" pitchFamily="2" charset="0"/>
              </a:rPr>
              <a:t>employees.</a:t>
            </a:r>
            <a:endPar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endParaRPr>
          </a:p>
        </p:txBody>
      </p:sp>
      <p:sp>
        <p:nvSpPr>
          <p:cNvPr id="3084" name="Text Placeholder 6">
            <a:extLst>
              <a:ext uri="{FF2B5EF4-FFF2-40B4-BE49-F238E27FC236}">
                <a16:creationId xmlns:a16="http://schemas.microsoft.com/office/drawing/2014/main" id="{CB1E09F1-534F-C4E9-A3AC-8B37414661CC}"/>
              </a:ext>
            </a:extLst>
          </p:cNvPr>
          <p:cNvSpPr txBox="1">
            <a:spLocks/>
          </p:cNvSpPr>
          <p:nvPr/>
        </p:nvSpPr>
        <p:spPr>
          <a:xfrm>
            <a:off x="3765912" y="1952402"/>
            <a:ext cx="3162829" cy="77385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The most common </a:t>
            </a:r>
            <a:r>
              <a:rPr lang="en-US" b="1">
                <a:solidFill>
                  <a:schemeClr val="accent1">
                    <a:lumMod val="75000"/>
                  </a:schemeClr>
                </a:solidFill>
                <a:latin typeface="Tenorite"/>
              </a:rPr>
              <a:t>marital status </a:t>
            </a: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of employees is </a:t>
            </a:r>
            <a:r>
              <a:rPr kumimoji="0" lang="en-US" b="1" i="0" u="none" strike="noStrike" kern="1200" cap="none" spc="50" normalizeH="0" baseline="0" noProof="0">
                <a:ln>
                  <a:noFill/>
                </a:ln>
                <a:solidFill>
                  <a:schemeClr val="accent1">
                    <a:lumMod val="75000"/>
                  </a:schemeClr>
                </a:solidFill>
                <a:effectLst/>
                <a:uLnTx/>
                <a:uFillTx/>
                <a:latin typeface="Tenorite"/>
                <a:ea typeface="+mn-ea"/>
                <a:cs typeface="+mn-cs"/>
              </a:rPr>
              <a:t>married</a:t>
            </a:r>
            <a:r>
              <a:rPr lang="en-US">
                <a:solidFill>
                  <a:srgbClr val="000000">
                    <a:lumMod val="75000"/>
                    <a:lumOff val="25000"/>
                  </a:srgbClr>
                </a:solidFill>
                <a:latin typeface="Tenorite" panose="00000500000000000000" pitchFamily="2" charset="0"/>
              </a:rPr>
              <a:t> (46%)</a:t>
            </a:r>
            <a:r>
              <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rPr>
              <a:t>.</a:t>
            </a:r>
          </a:p>
        </p:txBody>
      </p:sp>
      <p:sp>
        <p:nvSpPr>
          <p:cNvPr id="3085" name="Text Placeholder 6">
            <a:extLst>
              <a:ext uri="{FF2B5EF4-FFF2-40B4-BE49-F238E27FC236}">
                <a16:creationId xmlns:a16="http://schemas.microsoft.com/office/drawing/2014/main" id="{B8581D9E-09C7-82B1-4977-59BFAAFED35D}"/>
              </a:ext>
            </a:extLst>
          </p:cNvPr>
          <p:cNvSpPr txBox="1">
            <a:spLocks/>
          </p:cNvSpPr>
          <p:nvPr/>
        </p:nvSpPr>
        <p:spPr>
          <a:xfrm>
            <a:off x="7091521" y="1952402"/>
            <a:ext cx="4561519" cy="77385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ysClr val="windowText" lastClr="000000">
                    <a:lumMod val="75000"/>
                    <a:lumOff val="25000"/>
                  </a:sysClr>
                </a:solidFill>
                <a:latin typeface="Tenorite"/>
              </a:rPr>
              <a:t>Majority of employees will be between 28 and 38 years old, with the</a:t>
            </a: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 </a:t>
            </a:r>
            <a:r>
              <a:rPr lang="en-US" b="1">
                <a:solidFill>
                  <a:schemeClr val="accent1">
                    <a:lumMod val="75000"/>
                  </a:schemeClr>
                </a:solidFill>
                <a:latin typeface="Tenorite"/>
              </a:rPr>
              <a:t>average employee age being 37</a:t>
            </a:r>
            <a:r>
              <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rPr>
              <a:t>.</a:t>
            </a:r>
          </a:p>
        </p:txBody>
      </p:sp>
      <p:sp>
        <p:nvSpPr>
          <p:cNvPr id="2" name="Rectangle 1">
            <a:extLst>
              <a:ext uri="{FF2B5EF4-FFF2-40B4-BE49-F238E27FC236}">
                <a16:creationId xmlns:a16="http://schemas.microsoft.com/office/drawing/2014/main" id="{01B11BF6-FA69-E1D7-6507-5422CB813790}"/>
              </a:ext>
            </a:extLst>
          </p:cNvPr>
          <p:cNvSpPr/>
          <p:nvPr/>
        </p:nvSpPr>
        <p:spPr>
          <a:xfrm>
            <a:off x="607325" y="2825087"/>
            <a:ext cx="2927445" cy="2210937"/>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 name="Slide Number Placeholder 2">
            <a:extLst>
              <a:ext uri="{FF2B5EF4-FFF2-40B4-BE49-F238E27FC236}">
                <a16:creationId xmlns:a16="http://schemas.microsoft.com/office/drawing/2014/main" id="{A39C1775-2D4B-5B18-BEEE-4C69734F8BA2}"/>
              </a:ext>
            </a:extLst>
          </p:cNvPr>
          <p:cNvSpPr>
            <a:spLocks noGrp="1"/>
          </p:cNvSpPr>
          <p:nvPr>
            <p:ph type="sldNum" sz="quarter" idx="12"/>
          </p:nvPr>
        </p:nvSpPr>
        <p:spPr/>
        <p:txBody>
          <a:bodyPr/>
          <a:lstStyle/>
          <a:p>
            <a:fld id="{49ABCAEC-7D34-E549-A96E-FCEDAADBE4B0}" type="slidenum">
              <a:rPr lang="en-US" smtClean="0"/>
              <a:t>8</a:t>
            </a:fld>
            <a:endParaRPr lang="en-US"/>
          </a:p>
        </p:txBody>
      </p:sp>
    </p:spTree>
    <p:extLst>
      <p:ext uri="{BB962C8B-B14F-4D97-AF65-F5344CB8AC3E}">
        <p14:creationId xmlns:p14="http://schemas.microsoft.com/office/powerpoint/2010/main" val="780382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2DFAB4-002E-E4F1-2271-B0FECC3377FB}"/>
              </a:ext>
            </a:extLst>
          </p:cNvPr>
          <p:cNvSpPr/>
          <p:nvPr/>
        </p:nvSpPr>
        <p:spPr>
          <a:xfrm>
            <a:off x="1906205" y="1930880"/>
            <a:ext cx="2343136" cy="1495237"/>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pt-PT">
              <a:latin typeface="Tenorite" panose="00000500000000000000" pitchFamily="2" charset="0"/>
            </a:endParaRPr>
          </a:p>
          <a:p>
            <a:pPr algn="ctr"/>
            <a:endParaRPr lang="pt-PT">
              <a:latin typeface="Tenorite" panose="00000500000000000000" pitchFamily="2" charset="0"/>
            </a:endParaRPr>
          </a:p>
          <a:p>
            <a:pPr algn="ctr"/>
            <a:endParaRPr lang="pt-PT">
              <a:latin typeface="Tenorite" panose="00000500000000000000" pitchFamily="2" charset="0"/>
            </a:endParaRPr>
          </a:p>
          <a:p>
            <a:pPr algn="ctr"/>
            <a:endParaRPr lang="pt-PT">
              <a:latin typeface="Tenorite" panose="00000500000000000000" pitchFamily="2" charset="0"/>
            </a:endParaRPr>
          </a:p>
          <a:p>
            <a:pPr algn="ctr"/>
            <a:endParaRPr lang="pt-PT">
              <a:latin typeface="Tenorite" panose="00000500000000000000" pitchFamily="2" charset="0"/>
            </a:endParaRPr>
          </a:p>
          <a:p>
            <a:pPr algn="ctr"/>
            <a:endParaRPr lang="pt-PT">
              <a:latin typeface="Tenorite" panose="00000500000000000000" pitchFamily="2" charset="0"/>
            </a:endParaRPr>
          </a:p>
        </p:txBody>
      </p:sp>
      <p:sp>
        <p:nvSpPr>
          <p:cNvPr id="16" name="Title 2">
            <a:extLst>
              <a:ext uri="{FF2B5EF4-FFF2-40B4-BE49-F238E27FC236}">
                <a16:creationId xmlns:a16="http://schemas.microsoft.com/office/drawing/2014/main" id="{DF29E7B4-6607-540B-2D74-612452C5FB5A}"/>
              </a:ext>
            </a:extLst>
          </p:cNvPr>
          <p:cNvSpPr txBox="1">
            <a:spLocks/>
          </p:cNvSpPr>
          <p:nvPr/>
        </p:nvSpPr>
        <p:spPr>
          <a:xfrm>
            <a:off x="557295" y="153251"/>
            <a:ext cx="7335835" cy="126898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4000" b="1" i="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PT" sz="4000" b="1" i="0" u="none" strike="noStrike" kern="1200" cap="none" spc="0" normalizeH="0" baseline="0" noProof="0">
                <a:ln>
                  <a:noFill/>
                </a:ln>
                <a:solidFill>
                  <a:srgbClr val="000000"/>
                </a:solidFill>
                <a:effectLst/>
                <a:uLnTx/>
                <a:uFillTx/>
                <a:latin typeface="Neue Haas Grotesk Text Pro"/>
                <a:ea typeface="+mj-ea"/>
                <a:cs typeface="+mj-cs"/>
              </a:rPr>
              <a:t>Team Profile: Lifestyle</a:t>
            </a:r>
          </a:p>
        </p:txBody>
      </p:sp>
      <p:sp>
        <p:nvSpPr>
          <p:cNvPr id="6" name="Text Placeholder 2">
            <a:extLst>
              <a:ext uri="{FF2B5EF4-FFF2-40B4-BE49-F238E27FC236}">
                <a16:creationId xmlns:a16="http://schemas.microsoft.com/office/drawing/2014/main" id="{30C7E2AE-AEA0-D6E9-7253-4F9C0CE33169}"/>
              </a:ext>
            </a:extLst>
          </p:cNvPr>
          <p:cNvSpPr txBox="1">
            <a:spLocks/>
          </p:cNvSpPr>
          <p:nvPr/>
        </p:nvSpPr>
        <p:spPr>
          <a:xfrm>
            <a:off x="561742" y="834672"/>
            <a:ext cx="10118449" cy="316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a:solidFill>
                  <a:schemeClr val="accent1">
                    <a:lumMod val="75000"/>
                  </a:schemeClr>
                </a:solidFill>
                <a:latin typeface="Tenorite" panose="00000500000000000000" pitchFamily="2" charset="0"/>
                <a:ea typeface="+mj-lt"/>
                <a:cs typeface="+mj-lt"/>
              </a:rPr>
              <a:t>Most employees do not do overtime, travel rarely on business, live close to the office and consider to have a good work-life balance. </a:t>
            </a:r>
            <a:endParaRPr lang="pt-PT" sz="1800" b="1">
              <a:solidFill>
                <a:schemeClr val="accent1">
                  <a:lumMod val="75000"/>
                </a:schemeClr>
              </a:solidFill>
              <a:latin typeface="Tenorite" panose="00000500000000000000" pitchFamily="2" charset="0"/>
            </a:endParaRPr>
          </a:p>
        </p:txBody>
      </p:sp>
      <p:sp>
        <p:nvSpPr>
          <p:cNvPr id="3081" name="Text Placeholder 6">
            <a:extLst>
              <a:ext uri="{FF2B5EF4-FFF2-40B4-BE49-F238E27FC236}">
                <a16:creationId xmlns:a16="http://schemas.microsoft.com/office/drawing/2014/main" id="{71BB6D61-E2F2-07AA-6C37-F01F91BCF823}"/>
              </a:ext>
            </a:extLst>
          </p:cNvPr>
          <p:cNvSpPr txBox="1">
            <a:spLocks/>
          </p:cNvSpPr>
          <p:nvPr/>
        </p:nvSpPr>
        <p:spPr>
          <a:xfrm>
            <a:off x="721240" y="1478673"/>
            <a:ext cx="4248715" cy="473299"/>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No” accounts for majority of employees that do </a:t>
            </a:r>
            <a:r>
              <a:rPr lang="en-US" b="1">
                <a:solidFill>
                  <a:schemeClr val="accent1">
                    <a:lumMod val="75000"/>
                  </a:schemeClr>
                </a:solidFill>
                <a:latin typeface="Tenorite"/>
              </a:rPr>
              <a:t>overtime</a:t>
            </a:r>
            <a:r>
              <a:rPr lang="en-US">
                <a:solidFill>
                  <a:srgbClr val="000000">
                    <a:lumMod val="75000"/>
                    <a:lumOff val="25000"/>
                  </a:srgbClr>
                </a:solidFill>
                <a:latin typeface="Tenorite" panose="00000500000000000000" pitchFamily="2" charset="0"/>
              </a:rPr>
              <a:t>.</a:t>
            </a:r>
            <a:endPar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endParaRPr>
          </a:p>
        </p:txBody>
      </p:sp>
      <p:sp>
        <p:nvSpPr>
          <p:cNvPr id="3084" name="Text Placeholder 6">
            <a:extLst>
              <a:ext uri="{FF2B5EF4-FFF2-40B4-BE49-F238E27FC236}">
                <a16:creationId xmlns:a16="http://schemas.microsoft.com/office/drawing/2014/main" id="{CB1E09F1-534F-C4E9-A3AC-8B37414661CC}"/>
              </a:ext>
            </a:extLst>
          </p:cNvPr>
          <p:cNvSpPr txBox="1">
            <a:spLocks/>
          </p:cNvSpPr>
          <p:nvPr/>
        </p:nvSpPr>
        <p:spPr>
          <a:xfrm>
            <a:off x="723891" y="3429000"/>
            <a:ext cx="4149155" cy="477729"/>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Employees consider to have a positive work-life balance, with </a:t>
            </a:r>
            <a:r>
              <a:rPr kumimoji="0" lang="en-US" b="1" i="0" u="none" strike="noStrike" kern="1200" cap="none" spc="50" normalizeH="0" baseline="0" noProof="0">
                <a:ln>
                  <a:noFill/>
                </a:ln>
                <a:solidFill>
                  <a:schemeClr val="accent1">
                    <a:lumMod val="75000"/>
                  </a:schemeClr>
                </a:solidFill>
                <a:effectLst/>
                <a:uLnTx/>
                <a:uFillTx/>
                <a:latin typeface="Tenorite"/>
                <a:ea typeface="+mn-ea"/>
                <a:cs typeface="+mn-cs"/>
              </a:rPr>
              <a:t>71</a:t>
            </a:r>
            <a:r>
              <a:rPr lang="en-US" b="1">
                <a:solidFill>
                  <a:schemeClr val="accent1">
                    <a:lumMod val="75000"/>
                  </a:schemeClr>
                </a:solidFill>
                <a:latin typeface="Tenorite"/>
              </a:rPr>
              <a:t>% considering it as ‘Better’</a:t>
            </a:r>
            <a:r>
              <a:rPr kumimoji="0" lang="en-US"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rPr>
              <a:t>.</a:t>
            </a:r>
            <a:r>
              <a:rPr lang="en-US">
                <a:solidFill>
                  <a:srgbClr val="000000">
                    <a:lumMod val="75000"/>
                    <a:lumOff val="25000"/>
                  </a:srgbClr>
                </a:solidFill>
                <a:latin typeface="Tenorite" panose="00000500000000000000" pitchFamily="2" charset="0"/>
              </a:rPr>
              <a:t> </a:t>
            </a:r>
            <a:endPar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endParaRPr>
          </a:p>
        </p:txBody>
      </p:sp>
      <p:sp>
        <p:nvSpPr>
          <p:cNvPr id="3085" name="Text Placeholder 6">
            <a:extLst>
              <a:ext uri="{FF2B5EF4-FFF2-40B4-BE49-F238E27FC236}">
                <a16:creationId xmlns:a16="http://schemas.microsoft.com/office/drawing/2014/main" id="{B8581D9E-09C7-82B1-4977-59BFAAFED35D}"/>
              </a:ext>
            </a:extLst>
          </p:cNvPr>
          <p:cNvSpPr txBox="1">
            <a:spLocks/>
          </p:cNvSpPr>
          <p:nvPr/>
        </p:nvSpPr>
        <p:spPr>
          <a:xfrm>
            <a:off x="5919216" y="3429000"/>
            <a:ext cx="5010913" cy="477730"/>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solidFill>
                  <a:sysClr val="windowText" lastClr="000000">
                    <a:lumMod val="75000"/>
                    <a:lumOff val="25000"/>
                  </a:sysClr>
                </a:solidFill>
                <a:latin typeface="Tenorite"/>
              </a:rPr>
              <a:t>Most employees live close to the office, having a </a:t>
            </a:r>
            <a:r>
              <a:rPr lang="en-US" b="1">
                <a:solidFill>
                  <a:schemeClr val="accent1">
                    <a:lumMod val="75000"/>
                  </a:schemeClr>
                </a:solidFill>
                <a:latin typeface="Tenorite"/>
              </a:rPr>
              <a:t>short distance from home</a:t>
            </a:r>
            <a:r>
              <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rPr>
              <a:t>.</a:t>
            </a:r>
          </a:p>
        </p:txBody>
      </p:sp>
      <p:graphicFrame>
        <p:nvGraphicFramePr>
          <p:cNvPr id="10" name="Chart 9">
            <a:extLst>
              <a:ext uri="{FF2B5EF4-FFF2-40B4-BE49-F238E27FC236}">
                <a16:creationId xmlns:a16="http://schemas.microsoft.com/office/drawing/2014/main" id="{8708D5D6-CCDF-2B22-F6B4-2AE50296D7D0}"/>
              </a:ext>
            </a:extLst>
          </p:cNvPr>
          <p:cNvGraphicFramePr>
            <a:graphicFrameLocks/>
          </p:cNvGraphicFramePr>
          <p:nvPr>
            <p:extLst>
              <p:ext uri="{D42A27DB-BD31-4B8C-83A1-F6EECF244321}">
                <p14:modId xmlns:p14="http://schemas.microsoft.com/office/powerpoint/2010/main" val="1202371117"/>
              </p:ext>
            </p:extLst>
          </p:nvPr>
        </p:nvGraphicFramePr>
        <p:xfrm>
          <a:off x="5998464" y="1868966"/>
          <a:ext cx="4931664" cy="1456782"/>
        </p:xfrm>
        <a:graphic>
          <a:graphicData uri="http://schemas.openxmlformats.org/drawingml/2006/chart">
            <c:chart xmlns:c="http://schemas.openxmlformats.org/drawingml/2006/chart" xmlns:r="http://schemas.openxmlformats.org/officeDocument/2006/relationships" r:id="rId2"/>
          </a:graphicData>
        </a:graphic>
      </p:graphicFrame>
      <mc:AlternateContent xmlns:mc="http://schemas.openxmlformats.org/markup-compatibility/2006">
        <mc:Choice xmlns:cx1="http://schemas.microsoft.com/office/drawing/2015/9/8/chartex" Requires="cx1">
          <p:graphicFrame>
            <p:nvGraphicFramePr>
              <p:cNvPr id="18" name="Chart 17" descr="Chart type: Histogram. Frequency of 'DistanceFromHome'&#10;&#10;Description automatically generated">
                <a:extLst>
                  <a:ext uri="{FF2B5EF4-FFF2-40B4-BE49-F238E27FC236}">
                    <a16:creationId xmlns:a16="http://schemas.microsoft.com/office/drawing/2014/main" id="{E4506EBB-CD67-6218-D23A-33F9E401DE28}"/>
                  </a:ext>
                </a:extLst>
              </p:cNvPr>
              <p:cNvGraphicFramePr/>
              <p:nvPr>
                <p:extLst>
                  <p:ext uri="{D42A27DB-BD31-4B8C-83A1-F6EECF244321}">
                    <p14:modId xmlns:p14="http://schemas.microsoft.com/office/powerpoint/2010/main" val="577817953"/>
                  </p:ext>
                </p:extLst>
              </p:nvPr>
            </p:nvGraphicFramePr>
            <p:xfrm>
              <a:off x="5998464" y="3924893"/>
              <a:ext cx="4931664" cy="2045111"/>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8" name="Chart 17" descr="Chart type: Histogram. Frequency of 'DistanceFromHome'&#10;&#10;Description automatically generated">
                <a:extLst>
                  <a:ext uri="{FF2B5EF4-FFF2-40B4-BE49-F238E27FC236}">
                    <a16:creationId xmlns:a16="http://schemas.microsoft.com/office/drawing/2014/main" id="{E4506EBB-CD67-6218-D23A-33F9E401DE28}"/>
                  </a:ext>
                </a:extLst>
              </p:cNvPr>
              <p:cNvPicPr>
                <a:picLocks noGrp="1" noRot="1" noChangeAspect="1" noMove="1" noResize="1" noEditPoints="1" noAdjustHandles="1" noChangeArrowheads="1" noChangeShapeType="1"/>
              </p:cNvPicPr>
              <p:nvPr/>
            </p:nvPicPr>
            <p:blipFill>
              <a:blip r:embed="rId4"/>
              <a:stretch>
                <a:fillRect/>
              </a:stretch>
            </p:blipFill>
            <p:spPr>
              <a:xfrm>
                <a:off x="5998464" y="3924893"/>
                <a:ext cx="4931664" cy="2045111"/>
              </a:xfrm>
              <a:prstGeom prst="rect">
                <a:avLst/>
              </a:prstGeom>
            </p:spPr>
          </p:pic>
        </mc:Fallback>
      </mc:AlternateContent>
      <p:sp>
        <p:nvSpPr>
          <p:cNvPr id="23" name="Text Placeholder 6">
            <a:extLst>
              <a:ext uri="{FF2B5EF4-FFF2-40B4-BE49-F238E27FC236}">
                <a16:creationId xmlns:a16="http://schemas.microsoft.com/office/drawing/2014/main" id="{EEDF2067-710F-34C7-96FB-A6FD76E62304}"/>
              </a:ext>
            </a:extLst>
          </p:cNvPr>
          <p:cNvSpPr txBox="1">
            <a:spLocks/>
          </p:cNvSpPr>
          <p:nvPr/>
        </p:nvSpPr>
        <p:spPr>
          <a:xfrm>
            <a:off x="5919214" y="1478673"/>
            <a:ext cx="5010913" cy="316629"/>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kern="1200" spc="50" baseline="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Only </a:t>
            </a:r>
            <a:r>
              <a:rPr kumimoji="0" lang="en-US" b="1" i="0" u="none" strike="noStrike" kern="1200" cap="none" spc="50" normalizeH="0" baseline="0" noProof="0">
                <a:ln>
                  <a:noFill/>
                </a:ln>
                <a:solidFill>
                  <a:schemeClr val="accent1">
                    <a:lumMod val="75000"/>
                  </a:schemeClr>
                </a:solidFill>
                <a:effectLst/>
                <a:uLnTx/>
                <a:uFillTx/>
                <a:latin typeface="Tenorite"/>
                <a:ea typeface="+mn-ea"/>
                <a:cs typeface="+mn-cs"/>
              </a:rPr>
              <a:t>19</a:t>
            </a:r>
            <a:r>
              <a:rPr lang="en-US" b="1">
                <a:solidFill>
                  <a:schemeClr val="accent1">
                    <a:lumMod val="75000"/>
                  </a:schemeClr>
                </a:solidFill>
                <a:latin typeface="Tenorite"/>
              </a:rPr>
              <a:t>% </a:t>
            </a:r>
            <a:r>
              <a:rPr kumimoji="0" lang="en-US" b="0" i="0" u="none" strike="noStrike" kern="1200" cap="none" spc="50" normalizeH="0" baseline="0" noProof="0">
                <a:ln>
                  <a:noFill/>
                </a:ln>
                <a:solidFill>
                  <a:sysClr val="windowText" lastClr="000000">
                    <a:lumMod val="75000"/>
                    <a:lumOff val="25000"/>
                  </a:sysClr>
                </a:solidFill>
                <a:effectLst/>
                <a:uLnTx/>
                <a:uFillTx/>
                <a:latin typeface="Tenorite"/>
                <a:ea typeface="+mn-ea"/>
                <a:cs typeface="+mn-cs"/>
              </a:rPr>
              <a:t>of employees </a:t>
            </a:r>
            <a:r>
              <a:rPr kumimoji="0" lang="en-US" b="1" i="0" u="none" strike="noStrike" kern="1200" cap="none" spc="50" normalizeH="0" baseline="0" noProof="0">
                <a:ln>
                  <a:noFill/>
                </a:ln>
                <a:solidFill>
                  <a:schemeClr val="accent1">
                    <a:lumMod val="75000"/>
                  </a:schemeClr>
                </a:solidFill>
                <a:effectLst/>
                <a:uLnTx/>
                <a:uFillTx/>
                <a:latin typeface="Tenorite"/>
                <a:ea typeface="+mn-ea"/>
                <a:cs typeface="+mn-cs"/>
              </a:rPr>
              <a:t>travel frequently on business</a:t>
            </a:r>
            <a:r>
              <a:rPr kumimoji="0" lang="en-US"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rPr>
              <a:t>.</a:t>
            </a:r>
            <a:r>
              <a:rPr lang="en-US">
                <a:solidFill>
                  <a:srgbClr val="000000">
                    <a:lumMod val="75000"/>
                    <a:lumOff val="25000"/>
                  </a:srgbClr>
                </a:solidFill>
                <a:latin typeface="Tenorite" panose="00000500000000000000" pitchFamily="2" charset="0"/>
              </a:rPr>
              <a:t> </a:t>
            </a:r>
            <a:endParaRPr kumimoji="0" lang="en-US" b="0" i="0" u="none" strike="noStrike" kern="1200" cap="none" spc="50" normalizeH="0" baseline="0" noProof="0">
              <a:ln>
                <a:noFill/>
              </a:ln>
              <a:solidFill>
                <a:srgbClr val="000000">
                  <a:lumMod val="75000"/>
                  <a:lumOff val="25000"/>
                </a:srgbClr>
              </a:solidFill>
              <a:effectLst/>
              <a:uLnTx/>
              <a:uFillTx/>
              <a:latin typeface="Tenorite" panose="00000500000000000000" pitchFamily="2" charset="0"/>
              <a:ea typeface="+mn-ea"/>
              <a:cs typeface="+mn-cs"/>
            </a:endParaRPr>
          </a:p>
        </p:txBody>
      </p:sp>
      <p:graphicFrame>
        <p:nvGraphicFramePr>
          <p:cNvPr id="8" name="Chart 7">
            <a:extLst>
              <a:ext uri="{FF2B5EF4-FFF2-40B4-BE49-F238E27FC236}">
                <a16:creationId xmlns:a16="http://schemas.microsoft.com/office/drawing/2014/main" id="{66E08E3A-0516-39AB-1EDD-B1AA99ACF2C0}"/>
              </a:ext>
            </a:extLst>
          </p:cNvPr>
          <p:cNvGraphicFramePr>
            <a:graphicFrameLocks/>
          </p:cNvGraphicFramePr>
          <p:nvPr>
            <p:extLst>
              <p:ext uri="{D42A27DB-BD31-4B8C-83A1-F6EECF244321}">
                <p14:modId xmlns:p14="http://schemas.microsoft.com/office/powerpoint/2010/main" val="3221512900"/>
              </p:ext>
            </p:extLst>
          </p:nvPr>
        </p:nvGraphicFramePr>
        <p:xfrm>
          <a:off x="748647" y="1951972"/>
          <a:ext cx="4146244" cy="13737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a:extLst>
              <a:ext uri="{FF2B5EF4-FFF2-40B4-BE49-F238E27FC236}">
                <a16:creationId xmlns:a16="http://schemas.microsoft.com/office/drawing/2014/main" id="{C6DAA111-33E8-7F70-5D31-9A7803AD147B}"/>
              </a:ext>
            </a:extLst>
          </p:cNvPr>
          <p:cNvGraphicFramePr>
            <a:graphicFrameLocks/>
          </p:cNvGraphicFramePr>
          <p:nvPr>
            <p:extLst>
              <p:ext uri="{D42A27DB-BD31-4B8C-83A1-F6EECF244321}">
                <p14:modId xmlns:p14="http://schemas.microsoft.com/office/powerpoint/2010/main" val="491133333"/>
              </p:ext>
            </p:extLst>
          </p:nvPr>
        </p:nvGraphicFramePr>
        <p:xfrm>
          <a:off x="748647" y="4002668"/>
          <a:ext cx="4146244" cy="1982395"/>
        </p:xfrm>
        <a:graphic>
          <a:graphicData uri="http://schemas.openxmlformats.org/drawingml/2006/chart">
            <c:chart xmlns:c="http://schemas.openxmlformats.org/drawingml/2006/chart" xmlns:r="http://schemas.openxmlformats.org/officeDocument/2006/relationships" r:id="rId6"/>
          </a:graphicData>
        </a:graphic>
      </p:graphicFrame>
      <p:sp>
        <p:nvSpPr>
          <p:cNvPr id="2" name="Slide Number Placeholder 1">
            <a:extLst>
              <a:ext uri="{FF2B5EF4-FFF2-40B4-BE49-F238E27FC236}">
                <a16:creationId xmlns:a16="http://schemas.microsoft.com/office/drawing/2014/main" id="{F7AA9941-96BA-4B78-B943-1A7B29FF9E64}"/>
              </a:ext>
            </a:extLst>
          </p:cNvPr>
          <p:cNvSpPr>
            <a:spLocks noGrp="1"/>
          </p:cNvSpPr>
          <p:nvPr>
            <p:ph type="sldNum" sz="quarter" idx="12"/>
          </p:nvPr>
        </p:nvSpPr>
        <p:spPr/>
        <p:txBody>
          <a:bodyPr/>
          <a:lstStyle/>
          <a:p>
            <a:fld id="{49ABCAEC-7D34-E549-A96E-FCEDAADBE4B0}" type="slidenum">
              <a:rPr lang="en-US" smtClean="0"/>
              <a:t>9</a:t>
            </a:fld>
            <a:endParaRPr lang="en-US"/>
          </a:p>
        </p:txBody>
      </p:sp>
    </p:spTree>
    <p:extLst>
      <p:ext uri="{BB962C8B-B14F-4D97-AF65-F5344CB8AC3E}">
        <p14:creationId xmlns:p14="http://schemas.microsoft.com/office/powerpoint/2010/main" val="51664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2QkQPC1lJHiqBdMCpsWz8EAAAAAAADAAAAAAADAAAAAwADAAEA////////BQAAAAMAEAALGSYWWoTZGkOyZY67UqSRLgQAAAABAAMAAAACAAMAAAAEAAQAAgD///////8FAAAABAAQAAvN10eWw5j1QIfK4WcFktAi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ZCRA8LWUkeKoF0wKmxbPwNEYXRhABsAAAAETGlua2VkU2hhcGVEYXRhAAUAAAAAAAJOYW1lABkAAABMaW5rZWRTaGFwZXNEYXRhUHJvcGVydHkAEFZlcnNpb24AAQAAAAlMYXN0V3JpdGUAdw78YIsBAAAAAQD/////gwCDAAAABV9pZAAQAAAABBkmFlqE2RpDsmWOu1KkkS4DRGF0YQAbAAAABExpbmtlZFNoYXBlRGF0YQAFAAAAAAACTmFtZQAZAAAATGlua2VkU2hhcGVzRGF0YVByb3BlcnR5ABBWZXJzaW9uAAAAAAAJTGFzdFdyaXRlAGkO/GCLAQAAAAIA/////8YAxgAAAAVfaWQAEAAAAATN10eWw5j1QIfK4WcFktAiA0RhdGEAUwAAAAhQcmVzZW50YXRpb25TY2FubmVkRm9yTGlua2VkU2hhcGVzAAACTnVtYmVyRm9ybWF0U2VwYXJhdG9yTW9kZQAKAAAAQXV0b21hdGljAAACTmFtZQAkAAAATGlua2VkU2hhcGVQcmVzZW50YXRpb25TZXR0aW5nc0RhdGEAEFZlcnNpb24AAAAAAAlMYXN0V3JpdGUAeA78Y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hCwAAAAAAAAAAAAAgAf///////////////wAAAP///////////////wUAAAAEAP///////wUAAAAEAP///////////////////////////////////////////////////////////////////////////////////////////////////////////////////////////////////////////////////////////////////////////////////////////////////////////////////////////////////////////////////////////////////////////////////////////////////////////////////////////////////////////////////////////////////////////////////////////////////////////////////////////////////////////////////////////////////////////////////////////////wEAIAH///////////////8AAA7///////8FAAAAAgD///////////////////////////////////////////////////////////////////////////////////////////////////////////////////////////////////////////////////////////////////////////////////////////////////////////////////////////////////////////////////////////////////////////////////////////////////////////////////////////////////////////////////////////////////////////////////////////////////////////////////////////////////////////////////////////////////////////////////////////////////////////////////////8CAAEBAwAAAAIA////////GgAGTGlua2VkU2hhcGVzRGF0YVByb3BlcnR5XzEEAAAAAAAFAAAAAwAFAAAAAQADAAEBAwAAAAMA////////GgAGTGlua2VkU2hhcGVzRGF0YVByb3BlcnR5XzAEAAAAAQAFAAAABAAFAAAAAgAEAAIBAwAAAAQA////////JQAGTGlua2VkU2hhcGVQcmVzZW50YXRpb25TZXR0aW5nc0RhdGFfMAQAAAACAAUAAAAAAAUAAAADAA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37360135229448"/>
  <p:tag name="EMPOWERCHARTSPROPERTIES_A_LENGTH" val="24576"/>
</p:tagLst>
</file>

<file path=ppt/theme/theme1.xml><?xml version="1.0" encoding="utf-8"?>
<a:theme xmlns:a="http://schemas.openxmlformats.org/drawingml/2006/main" name="PunchcardVTI">
  <a:themeElements>
    <a:clrScheme name="AnalogousFromRegularSeed_2SEEDS">
      <a:dk1>
        <a:srgbClr val="000000"/>
      </a:dk1>
      <a:lt1>
        <a:srgbClr val="FFFFFF"/>
      </a:lt1>
      <a:dk2>
        <a:srgbClr val="1B2F2E"/>
      </a:dk2>
      <a:lt2>
        <a:srgbClr val="F3F1F0"/>
      </a:lt2>
      <a:accent1>
        <a:srgbClr val="3B9EB1"/>
      </a:accent1>
      <a:accent2>
        <a:srgbClr val="46B196"/>
      </a:accent2>
      <a:accent3>
        <a:srgbClr val="4D7EC3"/>
      </a:accent3>
      <a:accent4>
        <a:srgbClr val="B13B3E"/>
      </a:accent4>
      <a:accent5>
        <a:srgbClr val="C37B4D"/>
      </a:accent5>
      <a:accent6>
        <a:srgbClr val="B19A3B"/>
      </a:accent6>
      <a:hlink>
        <a:srgbClr val="C05944"/>
      </a:hlink>
      <a:folHlink>
        <a:srgbClr val="7F7F7F"/>
      </a:folHlink>
    </a:clrScheme>
    <a:fontScheme name="Punchcard">
      <a:majorFont>
        <a:latin typeface="Neue Haas Grotesk Text Pro"/>
        <a:ea typeface=""/>
        <a:cs typeface=""/>
      </a:majorFont>
      <a:minorFont>
        <a:latin typeface="Neue Haas Grotesk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nchcardVTI" id="{C7262591-AF98-8F48-B56D-6342D2439B1A}" vid="{261D9F73-974A-B14E-9EAF-4871CCA60BB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67">
    <a:dk1>
      <a:sysClr val="windowText" lastClr="000000"/>
    </a:dk1>
    <a:lt1>
      <a:sysClr val="window" lastClr="FFFFFF"/>
    </a:lt1>
    <a:dk2>
      <a:srgbClr val="44546A"/>
    </a:dk2>
    <a:lt2>
      <a:srgbClr val="E7E6E6"/>
    </a:lt2>
    <a:accent1>
      <a:srgbClr val="FBF4EF"/>
    </a:accent1>
    <a:accent2>
      <a:srgbClr val="F7F6F3"/>
    </a:accent2>
    <a:accent3>
      <a:srgbClr val="A5A5A5"/>
    </a:accent3>
    <a:accent4>
      <a:srgbClr val="FFC000"/>
    </a:accent4>
    <a:accent5>
      <a:srgbClr val="5B9BD5"/>
    </a:accent5>
    <a:accent6>
      <a:srgbClr val="70AD47"/>
    </a:accent6>
    <a:hlink>
      <a:srgbClr val="0563C1"/>
    </a:hlink>
    <a:folHlink>
      <a:srgbClr val="954F72"/>
    </a:folHlink>
  </a:clrScheme>
  <a:fontScheme name="Custom 56">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1126FCE69C1C488D6BED8DC6DD92DA" ma:contentTypeVersion="11" ma:contentTypeDescription="Create a new document." ma:contentTypeScope="" ma:versionID="58dde6c5326cb1a6affc722e74f6c948">
  <xsd:schema xmlns:xsd="http://www.w3.org/2001/XMLSchema" xmlns:xs="http://www.w3.org/2001/XMLSchema" xmlns:p="http://schemas.microsoft.com/office/2006/metadata/properties" xmlns:ns2="9d565c12-ce3b-44fb-a7a6-b28bd8707bab" xmlns:ns3="68c49bb1-8f48-4357-8a5c-c6b320b16815" targetNamespace="http://schemas.microsoft.com/office/2006/metadata/properties" ma:root="true" ma:fieldsID="4f102920d992f69db97922745298457c" ns2:_="" ns3:_="">
    <xsd:import namespace="9d565c12-ce3b-44fb-a7a6-b28bd8707bab"/>
    <xsd:import namespace="68c49bb1-8f48-4357-8a5c-c6b320b1681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565c12-ce3b-44fb-a7a6-b28bd8707b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5292e482-86e9-4fa8-8354-8feae1b4f4fb"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c49bb1-8f48-4357-8a5c-c6b320b16815"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d367cce-1082-4259-8742-c2c60cd25330}" ma:internalName="TaxCatchAll" ma:showField="CatchAllData" ma:web="68c49bb1-8f48-4357-8a5c-c6b320b168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68c49bb1-8f48-4357-8a5c-c6b320b16815" xsi:nil="true"/>
    <lcf76f155ced4ddcb4097134ff3c332f xmlns="9d565c12-ce3b-44fb-a7a6-b28bd8707ba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45BA94-C915-4AD7-89A7-EAA3900B5473}">
  <ds:schemaRefs>
    <ds:schemaRef ds:uri="68c49bb1-8f48-4357-8a5c-c6b320b16815"/>
    <ds:schemaRef ds:uri="9d565c12-ce3b-44fb-a7a6-b28bd8707ba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EFFFA3F-0FB5-4ED3-8906-A15B16577F44}">
  <ds:schemaRefs>
    <ds:schemaRef ds:uri="68c49bb1-8f48-4357-8a5c-c6b320b16815"/>
    <ds:schemaRef ds:uri="9d565c12-ce3b-44fb-a7a6-b28bd8707ba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966C46A-DC57-4209-80CD-9FE6C93151FF}">
  <ds:schemaRefs>
    <ds:schemaRef ds:uri="http://schemas.microsoft.com/sharepoint/v3/contenttype/forms"/>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Minimalist light sales pitch</Template>
  <Application>Microsoft Office PowerPoint</Application>
  <PresentationFormat>Widescreen</PresentationFormat>
  <Slides>30</Slides>
  <Notes>1</Notes>
  <HiddenSlides>9</HiddenSlides>
  <ScaleCrop>false</ScaleCrop>
  <HeadingPairs>
    <vt:vector size="4" baseType="variant">
      <vt:variant>
        <vt:lpstr>Theme</vt:lpstr>
      </vt:variant>
      <vt:variant>
        <vt:i4>1</vt:i4>
      </vt:variant>
      <vt:variant>
        <vt:lpstr>Slide Titles</vt:lpstr>
      </vt:variant>
      <vt:variant>
        <vt:i4>30</vt:i4>
      </vt:variant>
    </vt:vector>
  </HeadingPairs>
  <TitlesOfParts>
    <vt:vector size="31" baseType="lpstr">
      <vt:lpstr>PunchcardVTI</vt:lpstr>
      <vt:lpstr>HR Analytics Addressing BI4ALL EMPLOYEE ATTRI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Back-up Slides</vt:lpstr>
      <vt:lpstr>Feature Selection – Chi Square</vt:lpstr>
      <vt:lpstr>Feature Selection – Mutual Information</vt:lpstr>
      <vt:lpstr>Feature Selection – Random Forest</vt:lpstr>
      <vt:lpstr>Model Performance – Training Set</vt:lpstr>
      <vt:lpstr>Model Performance – Test Set Logistic Regression</vt:lpstr>
      <vt:lpstr>Model Performance – Test Set Random Forest</vt:lpstr>
      <vt:lpstr>Model Performance – Test Set XGBoost</vt:lpstr>
      <vt:lpstr>Model Performance – Test Set SV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HR analytics addressing BI4ALL employee attrition</dc:title>
  <dc:creator>Hortense Matos</dc:creator>
  <cp:revision>1</cp:revision>
  <cp:lastPrinted>2023-10-29T22:21:43Z</cp:lastPrinted>
  <dcterms:created xsi:type="dcterms:W3CDTF">2023-10-24T09:20:12Z</dcterms:created>
  <dcterms:modified xsi:type="dcterms:W3CDTF">2023-12-11T22:4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1126FCE69C1C488D6BED8DC6DD92DA</vt:lpwstr>
  </property>
  <property fmtid="{D5CDD505-2E9C-101B-9397-08002B2CF9AE}" pid="3" name="MSIP_Label_7f850223-87a8-40c3-9eb2-432606efca2a_Enabled">
    <vt:lpwstr>true</vt:lpwstr>
  </property>
  <property fmtid="{D5CDD505-2E9C-101B-9397-08002B2CF9AE}" pid="4" name="MSIP_Label_7f850223-87a8-40c3-9eb2-432606efca2a_SetDate">
    <vt:lpwstr>2023-10-24T11:10:05Z</vt:lpwstr>
  </property>
  <property fmtid="{D5CDD505-2E9C-101B-9397-08002B2CF9AE}" pid="5" name="MSIP_Label_7f850223-87a8-40c3-9eb2-432606efca2a_Method">
    <vt:lpwstr>Standard</vt:lpwstr>
  </property>
  <property fmtid="{D5CDD505-2E9C-101B-9397-08002B2CF9AE}" pid="6" name="MSIP_Label_7f850223-87a8-40c3-9eb2-432606efca2a_Name">
    <vt:lpwstr>7f850223-87a8-40c3-9eb2-432606efca2a</vt:lpwstr>
  </property>
  <property fmtid="{D5CDD505-2E9C-101B-9397-08002B2CF9AE}" pid="7" name="MSIP_Label_7f850223-87a8-40c3-9eb2-432606efca2a_SiteId">
    <vt:lpwstr>fcb2b37b-5da0-466b-9b83-0014b67a7c78</vt:lpwstr>
  </property>
  <property fmtid="{D5CDD505-2E9C-101B-9397-08002B2CF9AE}" pid="8" name="MSIP_Label_7f850223-87a8-40c3-9eb2-432606efca2a_ActionId">
    <vt:lpwstr>78adf224-aa66-4593-a476-885980d66667</vt:lpwstr>
  </property>
  <property fmtid="{D5CDD505-2E9C-101B-9397-08002B2CF9AE}" pid="9" name="MSIP_Label_7f850223-87a8-40c3-9eb2-432606efca2a_ContentBits">
    <vt:lpwstr>0</vt:lpwstr>
  </property>
  <property fmtid="{D5CDD505-2E9C-101B-9397-08002B2CF9AE}" pid="10" name="MediaServiceImageTags">
    <vt:lpwstr/>
  </property>
</Properties>
</file>